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7"/>
  </p:notesMasterIdLst>
  <p:sldIdLst>
    <p:sldId id="256" r:id="rId2"/>
    <p:sldId id="288" r:id="rId3"/>
    <p:sldId id="396" r:id="rId4"/>
    <p:sldId id="397" r:id="rId5"/>
    <p:sldId id="371" r:id="rId6"/>
    <p:sldId id="368" r:id="rId7"/>
    <p:sldId id="398" r:id="rId8"/>
    <p:sldId id="370" r:id="rId9"/>
    <p:sldId id="369" r:id="rId10"/>
    <p:sldId id="377" r:id="rId11"/>
    <p:sldId id="375" r:id="rId12"/>
    <p:sldId id="376" r:id="rId13"/>
    <p:sldId id="372" r:id="rId14"/>
    <p:sldId id="373" r:id="rId15"/>
    <p:sldId id="384" r:id="rId16"/>
    <p:sldId id="395" r:id="rId17"/>
    <p:sldId id="400" r:id="rId18"/>
    <p:sldId id="383" r:id="rId19"/>
    <p:sldId id="401" r:id="rId20"/>
    <p:sldId id="402" r:id="rId21"/>
    <p:sldId id="412" r:id="rId22"/>
    <p:sldId id="399" r:id="rId23"/>
    <p:sldId id="385" r:id="rId24"/>
    <p:sldId id="386" r:id="rId25"/>
    <p:sldId id="382" r:id="rId26"/>
    <p:sldId id="387" r:id="rId27"/>
    <p:sldId id="388" r:id="rId28"/>
    <p:sldId id="389" r:id="rId29"/>
    <p:sldId id="403" r:id="rId30"/>
    <p:sldId id="390" r:id="rId31"/>
    <p:sldId id="391" r:id="rId32"/>
    <p:sldId id="392" r:id="rId33"/>
    <p:sldId id="393" r:id="rId34"/>
    <p:sldId id="411" r:id="rId35"/>
    <p:sldId id="407" r:id="rId36"/>
    <p:sldId id="408" r:id="rId37"/>
    <p:sldId id="409" r:id="rId38"/>
    <p:sldId id="410" r:id="rId39"/>
    <p:sldId id="394" r:id="rId40"/>
    <p:sldId id="365" r:id="rId41"/>
    <p:sldId id="311" r:id="rId42"/>
    <p:sldId id="290" r:id="rId43"/>
    <p:sldId id="381" r:id="rId44"/>
    <p:sldId id="404" r:id="rId45"/>
    <p:sldId id="295" r:id="rId46"/>
    <p:sldId id="366" r:id="rId47"/>
    <p:sldId id="305" r:id="rId48"/>
    <p:sldId id="314" r:id="rId49"/>
    <p:sldId id="315" r:id="rId50"/>
    <p:sldId id="319" r:id="rId51"/>
    <p:sldId id="278" r:id="rId52"/>
    <p:sldId id="320" r:id="rId53"/>
    <p:sldId id="349" r:id="rId54"/>
    <p:sldId id="405" r:id="rId55"/>
    <p:sldId id="299" r:id="rId56"/>
    <p:sldId id="303" r:id="rId57"/>
    <p:sldId id="406" r:id="rId58"/>
    <p:sldId id="274" r:id="rId59"/>
    <p:sldId id="324" r:id="rId60"/>
    <p:sldId id="327" r:id="rId61"/>
    <p:sldId id="344" r:id="rId62"/>
    <p:sldId id="358" r:id="rId63"/>
    <p:sldId id="328" r:id="rId64"/>
    <p:sldId id="297" r:id="rId65"/>
    <p:sldId id="275" r:id="rId66"/>
    <p:sldId id="333" r:id="rId67"/>
    <p:sldId id="355" r:id="rId68"/>
    <p:sldId id="336" r:id="rId69"/>
    <p:sldId id="335" r:id="rId70"/>
    <p:sldId id="334" r:id="rId71"/>
    <p:sldId id="302" r:id="rId72"/>
    <p:sldId id="300" r:id="rId73"/>
    <p:sldId id="306" r:id="rId74"/>
    <p:sldId id="308" r:id="rId75"/>
    <p:sldId id="309" r:id="rId76"/>
    <p:sldId id="310" r:id="rId77"/>
    <p:sldId id="338" r:id="rId78"/>
    <p:sldId id="356" r:id="rId79"/>
    <p:sldId id="357" r:id="rId80"/>
    <p:sldId id="337" r:id="rId81"/>
    <p:sldId id="362" r:id="rId82"/>
    <p:sldId id="363" r:id="rId83"/>
    <p:sldId id="282" r:id="rId84"/>
    <p:sldId id="298" r:id="rId85"/>
    <p:sldId id="283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33"/>
    <a:srgbClr val="B3B3B3"/>
    <a:srgbClr val="B31B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369" autoAdjust="0"/>
    <p:restoredTop sz="94660"/>
  </p:normalViewPr>
  <p:slideViewPr>
    <p:cSldViewPr snapToGrid="0">
      <p:cViewPr varScale="1">
        <p:scale>
          <a:sx n="89" d="100"/>
          <a:sy n="89" d="100"/>
        </p:scale>
        <p:origin x="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heme" Target="theme/theme1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8C565-F3BF-4A84-AE07-9A89EABD0C05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334D6-74E3-493C-842C-2A0D832D06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049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the focus is not on building new data collections, the ability to protect existing data obviously has an impact on new data collections (see IMI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61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y experience has a certain Anglo-Saxon and European tint – I happen to have some experience and knowledge with the Brazilian case, but won’t reference that toda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2696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there is</a:t>
            </a:r>
            <a:r>
              <a:rPr lang="en-US" baseline="0" dirty="0"/>
              <a:t> also access to some private data in the FSRDC (Kauffman survey, </a:t>
            </a:r>
            <a:r>
              <a:rPr lang="en-US" baseline="0" dirty="0" err="1"/>
              <a:t>compustat</a:t>
            </a:r>
            <a:r>
              <a:rPr lang="en-US" baseline="0" dirty="0"/>
              <a:t>) but not pri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3339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‘m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ing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cus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a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untries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onstrat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atures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nt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ghlight</a:t>
            </a:r>
            <a:endParaRPr lang="de-DE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mission zur Verbesserung der informationellen Infrastruktur zwischen Wissenschaft und Statistik,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V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286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90 census was a trigger, when increased demand hit stronger</a:t>
            </a:r>
            <a:r>
              <a:rPr lang="en-US" baseline="0" dirty="0"/>
              <a:t> privacy protection – demographers and sociologists</a:t>
            </a:r>
            <a:endParaRPr lang="en-US" dirty="0"/>
          </a:p>
          <a:p>
            <a:r>
              <a:rPr lang="en-US" dirty="0"/>
              <a:t>CREST was the original</a:t>
            </a:r>
            <a:r>
              <a:rPr lang="en-US" baseline="0" dirty="0"/>
              <a:t> privileged access holder to data, but a driver in making it a more public entit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444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Q also in Netherlands (drivable), replaced with Denmark-style VDI from university locations. HQ approach also in Brazil (Rio) – Instituto </a:t>
            </a:r>
            <a:r>
              <a:rPr lang="en-US" dirty="0" err="1"/>
              <a:t>brasileiro</a:t>
            </a:r>
            <a:r>
              <a:rPr lang="en-US" dirty="0"/>
              <a:t> da </a:t>
            </a:r>
            <a:r>
              <a:rPr lang="en-US" dirty="0" err="1"/>
              <a:t>geografía</a:t>
            </a:r>
            <a:r>
              <a:rPr lang="en-US" dirty="0"/>
              <a:t> e </a:t>
            </a:r>
            <a:r>
              <a:rPr lang="en-US" dirty="0" err="1"/>
              <a:t>estatística</a:t>
            </a:r>
            <a:r>
              <a:rPr lang="en-US" dirty="0"/>
              <a:t>. Canada: enclaves of </a:t>
            </a:r>
            <a:r>
              <a:rPr lang="en-US" dirty="0" err="1"/>
              <a:t>StatCan</a:t>
            </a:r>
            <a:r>
              <a:rPr lang="en-US" dirty="0"/>
              <a:t> within universities, owned and operated by universities, on university computers, under supervision and authorization of </a:t>
            </a:r>
            <a:r>
              <a:rPr lang="en-US" dirty="0" err="1"/>
              <a:t>StatC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560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ynthetic data is NOT a</a:t>
            </a:r>
            <a:r>
              <a:rPr lang="en-US" baseline="0" dirty="0"/>
              <a:t> remote submission system, but it is a access mechanis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723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this is a jok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6807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+ PDF means that no formal training occurs; rather, the information is transmitted through a contract or initial set of mate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829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earchers get shown the idea behind the infrastructure through this 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5435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are provided this picture of how they should consider the manipulation of data that they are perform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10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a physical point of view, not the best way to distribute data (loss of laptop…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024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ferences are  a key community-building tool, and the US and Canadian systems have long histories of holding such data-user oriented conferences (less so in Europe). [Image of Canadian RDC conference added after presentation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7084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xelle </a:t>
            </a:r>
            <a:r>
              <a:rPr lang="en-US" dirty="0" err="1"/>
              <a:t>Lemaire</a:t>
            </a:r>
            <a:r>
              <a:rPr lang="en-US" dirty="0"/>
              <a:t> (“minister of state” equivalent to undersecretary) – FSRDC has had the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 Secretary of Commerc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or Economic Affairs  (Mark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m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7771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+ PDF means that no formal training occurs; rather, the information is transmitted through a contract or initial set of mate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015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adian RDC</a:t>
            </a:r>
            <a:r>
              <a:rPr lang="en-US" baseline="0" dirty="0"/>
              <a:t> system is considering moving part of its infrastructure to Virtual Data Enclave/ Thin Client/ VDI archite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290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can the broad</a:t>
            </a:r>
            <a:r>
              <a:rPr lang="en-US" baseline="0" dirty="0"/>
              <a:t> network of CASD terminals (spread out across 300+ locations), the quasi-employee type of access in the Danish system be maintained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123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let’s go back to the access rules</a:t>
            </a:r>
            <a:r>
              <a:rPr lang="en-US" baseline="0" dirty="0"/>
              <a:t> and disclosure avoidance mechanisms of the various system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620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dirty="0">
                <a:solidFill>
                  <a:srgbClr val="FF0000"/>
                </a:solidFill>
              </a:rPr>
              <a:t>France – with the broadest network – has lower</a:t>
            </a:r>
            <a:r>
              <a:rPr lang="en-US" sz="1200" b="0" baseline="0" dirty="0">
                <a:solidFill>
                  <a:srgbClr val="FF0000"/>
                </a:solidFill>
              </a:rPr>
              <a:t> penalties (but still prison)</a:t>
            </a:r>
            <a:endParaRPr lang="en-US" sz="1200" b="0" dirty="0">
              <a:solidFill>
                <a:srgbClr val="FF0000"/>
              </a:solidFill>
            </a:endParaRPr>
          </a:p>
          <a:p>
            <a:r>
              <a:rPr lang="en-US" sz="1200" b="0" dirty="0">
                <a:solidFill>
                  <a:srgbClr val="FF0000"/>
                </a:solidFill>
              </a:rPr>
              <a:t>Germany (</a:t>
            </a:r>
            <a:r>
              <a:rPr lang="en-US" sz="1200" b="1" dirty="0">
                <a:solidFill>
                  <a:srgbClr val="FF0000"/>
                </a:solidFill>
              </a:rPr>
              <a:t>€60,000 ~ $67000 but increasing…) </a:t>
            </a:r>
            <a:r>
              <a:rPr lang="en-US" sz="1200" b="0" dirty="0">
                <a:solidFill>
                  <a:srgbClr val="FF0000"/>
                </a:solidFill>
              </a:rPr>
              <a:t>has no prison, and still relatively puny monetary penalties</a:t>
            </a:r>
            <a:r>
              <a:rPr lang="en-US" sz="1200" b="1" dirty="0">
                <a:solidFill>
                  <a:srgbClr val="FF0000"/>
                </a:solidFill>
              </a:rPr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459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AB and Denmark</a:t>
            </a:r>
            <a:r>
              <a:rPr lang="en-US" baseline="0" dirty="0"/>
              <a:t> – binds the institution, not just the researc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134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+ PDF means that no formal training occurs; rather, the information is transmitted through a contract or initial set of mate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137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rangler</a:t>
            </a:r>
            <a:r>
              <a:rPr lang="en-US" baseline="0" dirty="0"/>
              <a:t> is the smallest listed system on XSEDE as of Feb 2017, Stampede is the largest. Information obtained from https://www.xsede.org/web/guest/resources/overview on Feb 18, 2017. FSRDC estimated based on 10 dual-CPU, 12core system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334D6-74E3-493C-842C-2A0D832D0681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045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167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9507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45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039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12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1708" y="365125"/>
            <a:ext cx="9802091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9" name="Picture 8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492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1" name="Picture 10" descr="cu screen b31b1b.ps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242712" y="402168"/>
            <a:ext cx="1384120" cy="12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776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607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27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07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79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8DA53-2AE6-479B-901D-5117A0B269E4}" type="datetimeFigureOut">
              <a:rPr lang="en-US" smtClean="0"/>
              <a:t>21-Feb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C151D-353C-46B9-AA66-2AB42B8086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98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sf.gov/awardsearch/showAward.do?AwardNumber=1131848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0.jp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ottawacitizen.com/news/local-news/canadas-chief-statistician-quits-statistic-canada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99" Type="http://schemas.openxmlformats.org/officeDocument/2006/relationships/tags" Target="../tags/tag309.xml"/><Relationship Id="rId21" Type="http://schemas.openxmlformats.org/officeDocument/2006/relationships/tags" Target="../tags/tag31.xml"/><Relationship Id="rId63" Type="http://schemas.openxmlformats.org/officeDocument/2006/relationships/tags" Target="../tags/tag73.xml"/><Relationship Id="rId159" Type="http://schemas.openxmlformats.org/officeDocument/2006/relationships/tags" Target="../tags/tag169.xml"/><Relationship Id="rId324" Type="http://schemas.openxmlformats.org/officeDocument/2006/relationships/tags" Target="../tags/tag334.xml"/><Relationship Id="rId366" Type="http://schemas.openxmlformats.org/officeDocument/2006/relationships/tags" Target="../tags/tag376.xml"/><Relationship Id="rId170" Type="http://schemas.openxmlformats.org/officeDocument/2006/relationships/tags" Target="../tags/tag180.xml"/><Relationship Id="rId226" Type="http://schemas.openxmlformats.org/officeDocument/2006/relationships/tags" Target="../tags/tag236.xml"/><Relationship Id="rId268" Type="http://schemas.openxmlformats.org/officeDocument/2006/relationships/tags" Target="../tags/tag278.xml"/><Relationship Id="rId32" Type="http://schemas.openxmlformats.org/officeDocument/2006/relationships/tags" Target="../tags/tag42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335" Type="http://schemas.openxmlformats.org/officeDocument/2006/relationships/tags" Target="../tags/tag345.xml"/><Relationship Id="rId377" Type="http://schemas.openxmlformats.org/officeDocument/2006/relationships/tags" Target="../tags/tag387.xml"/><Relationship Id="rId5" Type="http://schemas.openxmlformats.org/officeDocument/2006/relationships/tags" Target="../tags/tag15.xml"/><Relationship Id="rId181" Type="http://schemas.openxmlformats.org/officeDocument/2006/relationships/tags" Target="../tags/tag191.xml"/><Relationship Id="rId237" Type="http://schemas.openxmlformats.org/officeDocument/2006/relationships/tags" Target="../tags/tag247.xml"/><Relationship Id="rId279" Type="http://schemas.openxmlformats.org/officeDocument/2006/relationships/tags" Target="../tags/tag289.xml"/><Relationship Id="rId43" Type="http://schemas.openxmlformats.org/officeDocument/2006/relationships/tags" Target="../tags/tag53.xml"/><Relationship Id="rId139" Type="http://schemas.openxmlformats.org/officeDocument/2006/relationships/tags" Target="../tags/tag149.xml"/><Relationship Id="rId290" Type="http://schemas.openxmlformats.org/officeDocument/2006/relationships/tags" Target="../tags/tag300.xml"/><Relationship Id="rId304" Type="http://schemas.openxmlformats.org/officeDocument/2006/relationships/tags" Target="../tags/tag314.xml"/><Relationship Id="rId346" Type="http://schemas.openxmlformats.org/officeDocument/2006/relationships/tags" Target="../tags/tag356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92" Type="http://schemas.openxmlformats.org/officeDocument/2006/relationships/tags" Target="../tags/tag202.xml"/><Relationship Id="rId206" Type="http://schemas.openxmlformats.org/officeDocument/2006/relationships/tags" Target="../tags/tag216.xml"/><Relationship Id="rId248" Type="http://schemas.openxmlformats.org/officeDocument/2006/relationships/tags" Target="../tags/tag258.xml"/><Relationship Id="rId12" Type="http://schemas.openxmlformats.org/officeDocument/2006/relationships/tags" Target="../tags/tag22.xml"/><Relationship Id="rId108" Type="http://schemas.openxmlformats.org/officeDocument/2006/relationships/tags" Target="../tags/tag118.xml"/><Relationship Id="rId315" Type="http://schemas.openxmlformats.org/officeDocument/2006/relationships/tags" Target="../tags/tag325.xml"/><Relationship Id="rId357" Type="http://schemas.openxmlformats.org/officeDocument/2006/relationships/tags" Target="../tags/tag367.xml"/><Relationship Id="rId54" Type="http://schemas.openxmlformats.org/officeDocument/2006/relationships/tags" Target="../tags/tag64.xml"/><Relationship Id="rId96" Type="http://schemas.openxmlformats.org/officeDocument/2006/relationships/tags" Target="../tags/tag106.xml"/><Relationship Id="rId161" Type="http://schemas.openxmlformats.org/officeDocument/2006/relationships/tags" Target="../tags/tag171.xml"/><Relationship Id="rId217" Type="http://schemas.openxmlformats.org/officeDocument/2006/relationships/tags" Target="../tags/tag227.xml"/><Relationship Id="rId259" Type="http://schemas.openxmlformats.org/officeDocument/2006/relationships/tags" Target="../tags/tag269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270" Type="http://schemas.openxmlformats.org/officeDocument/2006/relationships/tags" Target="../tags/tag280.xml"/><Relationship Id="rId326" Type="http://schemas.openxmlformats.org/officeDocument/2006/relationships/tags" Target="../tags/tag336.xml"/><Relationship Id="rId65" Type="http://schemas.openxmlformats.org/officeDocument/2006/relationships/tags" Target="../tags/tag75.xml"/><Relationship Id="rId130" Type="http://schemas.openxmlformats.org/officeDocument/2006/relationships/tags" Target="../tags/tag140.xml"/><Relationship Id="rId368" Type="http://schemas.openxmlformats.org/officeDocument/2006/relationships/tags" Target="../tags/tag378.xml"/><Relationship Id="rId172" Type="http://schemas.openxmlformats.org/officeDocument/2006/relationships/tags" Target="../tags/tag182.xml"/><Relationship Id="rId228" Type="http://schemas.openxmlformats.org/officeDocument/2006/relationships/tags" Target="../tags/tag238.xml"/><Relationship Id="rId281" Type="http://schemas.openxmlformats.org/officeDocument/2006/relationships/tags" Target="../tags/tag291.xml"/><Relationship Id="rId337" Type="http://schemas.openxmlformats.org/officeDocument/2006/relationships/tags" Target="../tags/tag347.xml"/><Relationship Id="rId34" Type="http://schemas.openxmlformats.org/officeDocument/2006/relationships/tags" Target="../tags/tag44.xml"/><Relationship Id="rId76" Type="http://schemas.openxmlformats.org/officeDocument/2006/relationships/tags" Target="../tags/tag86.xml"/><Relationship Id="rId141" Type="http://schemas.openxmlformats.org/officeDocument/2006/relationships/tags" Target="../tags/tag151.xml"/><Relationship Id="rId379" Type="http://schemas.openxmlformats.org/officeDocument/2006/relationships/tags" Target="../tags/tag389.xml"/><Relationship Id="rId7" Type="http://schemas.openxmlformats.org/officeDocument/2006/relationships/tags" Target="../tags/tag17.xml"/><Relationship Id="rId183" Type="http://schemas.openxmlformats.org/officeDocument/2006/relationships/tags" Target="../tags/tag193.xml"/><Relationship Id="rId239" Type="http://schemas.openxmlformats.org/officeDocument/2006/relationships/tags" Target="../tags/tag249.xml"/><Relationship Id="rId250" Type="http://schemas.openxmlformats.org/officeDocument/2006/relationships/tags" Target="../tags/tag260.xml"/><Relationship Id="rId292" Type="http://schemas.openxmlformats.org/officeDocument/2006/relationships/tags" Target="../tags/tag302.xml"/><Relationship Id="rId306" Type="http://schemas.openxmlformats.org/officeDocument/2006/relationships/tags" Target="../tags/tag316.xml"/><Relationship Id="rId45" Type="http://schemas.openxmlformats.org/officeDocument/2006/relationships/tags" Target="../tags/tag55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348" Type="http://schemas.openxmlformats.org/officeDocument/2006/relationships/tags" Target="../tags/tag358.xml"/><Relationship Id="rId152" Type="http://schemas.openxmlformats.org/officeDocument/2006/relationships/tags" Target="../tags/tag162.xml"/><Relationship Id="rId194" Type="http://schemas.openxmlformats.org/officeDocument/2006/relationships/tags" Target="../tags/tag204.xml"/><Relationship Id="rId208" Type="http://schemas.openxmlformats.org/officeDocument/2006/relationships/tags" Target="../tags/tag218.xml"/><Relationship Id="rId261" Type="http://schemas.openxmlformats.org/officeDocument/2006/relationships/tags" Target="../tags/tag271.xml"/><Relationship Id="rId14" Type="http://schemas.openxmlformats.org/officeDocument/2006/relationships/tags" Target="../tags/tag24.xml"/><Relationship Id="rId56" Type="http://schemas.openxmlformats.org/officeDocument/2006/relationships/tags" Target="../tags/tag66.xml"/><Relationship Id="rId317" Type="http://schemas.openxmlformats.org/officeDocument/2006/relationships/tags" Target="../tags/tag327.xml"/><Relationship Id="rId359" Type="http://schemas.openxmlformats.org/officeDocument/2006/relationships/tags" Target="../tags/tag369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63" Type="http://schemas.openxmlformats.org/officeDocument/2006/relationships/tags" Target="../tags/tag173.xml"/><Relationship Id="rId219" Type="http://schemas.openxmlformats.org/officeDocument/2006/relationships/tags" Target="../tags/tag229.xml"/><Relationship Id="rId370" Type="http://schemas.openxmlformats.org/officeDocument/2006/relationships/tags" Target="../tags/tag380.xml"/><Relationship Id="rId230" Type="http://schemas.openxmlformats.org/officeDocument/2006/relationships/tags" Target="../tags/tag240.xml"/><Relationship Id="rId25" Type="http://schemas.openxmlformats.org/officeDocument/2006/relationships/tags" Target="../tags/tag35.xml"/><Relationship Id="rId67" Type="http://schemas.openxmlformats.org/officeDocument/2006/relationships/tags" Target="../tags/tag77.xml"/><Relationship Id="rId272" Type="http://schemas.openxmlformats.org/officeDocument/2006/relationships/tags" Target="../tags/tag282.xml"/><Relationship Id="rId328" Type="http://schemas.openxmlformats.org/officeDocument/2006/relationships/tags" Target="../tags/tag338.xml"/><Relationship Id="rId132" Type="http://schemas.openxmlformats.org/officeDocument/2006/relationships/tags" Target="../tags/tag142.xml"/><Relationship Id="rId174" Type="http://schemas.openxmlformats.org/officeDocument/2006/relationships/tags" Target="../tags/tag184.xml"/><Relationship Id="rId381" Type="http://schemas.openxmlformats.org/officeDocument/2006/relationships/tags" Target="../tags/tag391.xml"/><Relationship Id="rId241" Type="http://schemas.openxmlformats.org/officeDocument/2006/relationships/tags" Target="../tags/tag251.xml"/><Relationship Id="rId36" Type="http://schemas.openxmlformats.org/officeDocument/2006/relationships/tags" Target="../tags/tag46.xml"/><Relationship Id="rId283" Type="http://schemas.openxmlformats.org/officeDocument/2006/relationships/tags" Target="../tags/tag293.xml"/><Relationship Id="rId339" Type="http://schemas.openxmlformats.org/officeDocument/2006/relationships/tags" Target="../tags/tag349.xml"/><Relationship Id="rId78" Type="http://schemas.openxmlformats.org/officeDocument/2006/relationships/tags" Target="../tags/tag88.xml"/><Relationship Id="rId101" Type="http://schemas.openxmlformats.org/officeDocument/2006/relationships/tags" Target="../tags/tag111.xml"/><Relationship Id="rId143" Type="http://schemas.openxmlformats.org/officeDocument/2006/relationships/tags" Target="../tags/tag153.xml"/><Relationship Id="rId185" Type="http://schemas.openxmlformats.org/officeDocument/2006/relationships/tags" Target="../tags/tag195.xml"/><Relationship Id="rId350" Type="http://schemas.openxmlformats.org/officeDocument/2006/relationships/tags" Target="../tags/tag360.xml"/><Relationship Id="rId9" Type="http://schemas.openxmlformats.org/officeDocument/2006/relationships/tags" Target="../tags/tag19.xml"/><Relationship Id="rId210" Type="http://schemas.openxmlformats.org/officeDocument/2006/relationships/tags" Target="../tags/tag220.xml"/><Relationship Id="rId26" Type="http://schemas.openxmlformats.org/officeDocument/2006/relationships/tags" Target="../tags/tag36.xml"/><Relationship Id="rId231" Type="http://schemas.openxmlformats.org/officeDocument/2006/relationships/tags" Target="../tags/tag241.xml"/><Relationship Id="rId252" Type="http://schemas.openxmlformats.org/officeDocument/2006/relationships/tags" Target="../tags/tag262.xml"/><Relationship Id="rId273" Type="http://schemas.openxmlformats.org/officeDocument/2006/relationships/tags" Target="../tags/tag283.xml"/><Relationship Id="rId294" Type="http://schemas.openxmlformats.org/officeDocument/2006/relationships/tags" Target="../tags/tag304.xml"/><Relationship Id="rId308" Type="http://schemas.openxmlformats.org/officeDocument/2006/relationships/tags" Target="../tags/tag318.xml"/><Relationship Id="rId329" Type="http://schemas.openxmlformats.org/officeDocument/2006/relationships/tags" Target="../tags/tag339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340" Type="http://schemas.openxmlformats.org/officeDocument/2006/relationships/tags" Target="../tags/tag350.xml"/><Relationship Id="rId361" Type="http://schemas.openxmlformats.org/officeDocument/2006/relationships/tags" Target="../tags/tag371.xml"/><Relationship Id="rId196" Type="http://schemas.openxmlformats.org/officeDocument/2006/relationships/tags" Target="../tags/tag206.xml"/><Relationship Id="rId200" Type="http://schemas.openxmlformats.org/officeDocument/2006/relationships/tags" Target="../tags/tag21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26.xml"/><Relationship Id="rId221" Type="http://schemas.openxmlformats.org/officeDocument/2006/relationships/tags" Target="../tags/tag231.xml"/><Relationship Id="rId242" Type="http://schemas.openxmlformats.org/officeDocument/2006/relationships/tags" Target="../tags/tag252.xml"/><Relationship Id="rId263" Type="http://schemas.openxmlformats.org/officeDocument/2006/relationships/tags" Target="../tags/tag273.xml"/><Relationship Id="rId284" Type="http://schemas.openxmlformats.org/officeDocument/2006/relationships/tags" Target="../tags/tag294.xml"/><Relationship Id="rId319" Type="http://schemas.openxmlformats.org/officeDocument/2006/relationships/tags" Target="../tags/tag329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330" Type="http://schemas.openxmlformats.org/officeDocument/2006/relationships/tags" Target="../tags/tag340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351" Type="http://schemas.openxmlformats.org/officeDocument/2006/relationships/tags" Target="../tags/tag361.xml"/><Relationship Id="rId372" Type="http://schemas.openxmlformats.org/officeDocument/2006/relationships/tags" Target="../tags/tag382.xml"/><Relationship Id="rId211" Type="http://schemas.openxmlformats.org/officeDocument/2006/relationships/tags" Target="../tags/tag221.xml"/><Relationship Id="rId232" Type="http://schemas.openxmlformats.org/officeDocument/2006/relationships/tags" Target="../tags/tag242.xml"/><Relationship Id="rId253" Type="http://schemas.openxmlformats.org/officeDocument/2006/relationships/tags" Target="../tags/tag263.xml"/><Relationship Id="rId274" Type="http://schemas.openxmlformats.org/officeDocument/2006/relationships/tags" Target="../tags/tag284.xml"/><Relationship Id="rId295" Type="http://schemas.openxmlformats.org/officeDocument/2006/relationships/tags" Target="../tags/tag305.xml"/><Relationship Id="rId309" Type="http://schemas.openxmlformats.org/officeDocument/2006/relationships/tags" Target="../tags/tag319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320" Type="http://schemas.openxmlformats.org/officeDocument/2006/relationships/tags" Target="../tags/tag330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97" Type="http://schemas.openxmlformats.org/officeDocument/2006/relationships/tags" Target="../tags/tag207.xml"/><Relationship Id="rId341" Type="http://schemas.openxmlformats.org/officeDocument/2006/relationships/tags" Target="../tags/tag351.xml"/><Relationship Id="rId362" Type="http://schemas.openxmlformats.org/officeDocument/2006/relationships/tags" Target="../tags/tag372.xml"/><Relationship Id="rId383" Type="http://schemas.openxmlformats.org/officeDocument/2006/relationships/notesSlide" Target="../notesSlides/notesSlide10.xml"/><Relationship Id="rId201" Type="http://schemas.openxmlformats.org/officeDocument/2006/relationships/tags" Target="../tags/tag211.xml"/><Relationship Id="rId222" Type="http://schemas.openxmlformats.org/officeDocument/2006/relationships/tags" Target="../tags/tag232.xml"/><Relationship Id="rId243" Type="http://schemas.openxmlformats.org/officeDocument/2006/relationships/tags" Target="../tags/tag253.xml"/><Relationship Id="rId264" Type="http://schemas.openxmlformats.org/officeDocument/2006/relationships/tags" Target="../tags/tag274.xml"/><Relationship Id="rId285" Type="http://schemas.openxmlformats.org/officeDocument/2006/relationships/tags" Target="../tags/tag295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310" Type="http://schemas.openxmlformats.org/officeDocument/2006/relationships/tags" Target="../tags/tag320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331" Type="http://schemas.openxmlformats.org/officeDocument/2006/relationships/tags" Target="../tags/tag341.xml"/><Relationship Id="rId352" Type="http://schemas.openxmlformats.org/officeDocument/2006/relationships/tags" Target="../tags/tag362.xml"/><Relationship Id="rId373" Type="http://schemas.openxmlformats.org/officeDocument/2006/relationships/tags" Target="../tags/tag383.xml"/><Relationship Id="rId1" Type="http://schemas.openxmlformats.org/officeDocument/2006/relationships/tags" Target="../tags/tag11.xml"/><Relationship Id="rId212" Type="http://schemas.openxmlformats.org/officeDocument/2006/relationships/tags" Target="../tags/tag222.xml"/><Relationship Id="rId233" Type="http://schemas.openxmlformats.org/officeDocument/2006/relationships/tags" Target="../tags/tag243.xml"/><Relationship Id="rId254" Type="http://schemas.openxmlformats.org/officeDocument/2006/relationships/tags" Target="../tags/tag264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275" Type="http://schemas.openxmlformats.org/officeDocument/2006/relationships/tags" Target="../tags/tag285.xml"/><Relationship Id="rId296" Type="http://schemas.openxmlformats.org/officeDocument/2006/relationships/tags" Target="../tags/tag306.xml"/><Relationship Id="rId300" Type="http://schemas.openxmlformats.org/officeDocument/2006/relationships/tags" Target="../tags/tag310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98" Type="http://schemas.openxmlformats.org/officeDocument/2006/relationships/tags" Target="../tags/tag208.xml"/><Relationship Id="rId321" Type="http://schemas.openxmlformats.org/officeDocument/2006/relationships/tags" Target="../tags/tag331.xml"/><Relationship Id="rId342" Type="http://schemas.openxmlformats.org/officeDocument/2006/relationships/tags" Target="../tags/tag352.xml"/><Relationship Id="rId363" Type="http://schemas.openxmlformats.org/officeDocument/2006/relationships/tags" Target="../tags/tag373.xml"/><Relationship Id="rId202" Type="http://schemas.openxmlformats.org/officeDocument/2006/relationships/tags" Target="../tags/tag212.xml"/><Relationship Id="rId223" Type="http://schemas.openxmlformats.org/officeDocument/2006/relationships/tags" Target="../tags/tag233.xml"/><Relationship Id="rId244" Type="http://schemas.openxmlformats.org/officeDocument/2006/relationships/tags" Target="../tags/tag254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265" Type="http://schemas.openxmlformats.org/officeDocument/2006/relationships/tags" Target="../tags/tag275.xml"/><Relationship Id="rId286" Type="http://schemas.openxmlformats.org/officeDocument/2006/relationships/tags" Target="../tags/tag296.xml"/><Relationship Id="rId50" Type="http://schemas.openxmlformats.org/officeDocument/2006/relationships/tags" Target="../tags/tag60.xml"/><Relationship Id="rId104" Type="http://schemas.openxmlformats.org/officeDocument/2006/relationships/tags" Target="../tags/tag114.xml"/><Relationship Id="rId125" Type="http://schemas.openxmlformats.org/officeDocument/2006/relationships/tags" Target="../tags/tag135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tags" Target="../tags/tag198.xml"/><Relationship Id="rId311" Type="http://schemas.openxmlformats.org/officeDocument/2006/relationships/tags" Target="../tags/tag321.xml"/><Relationship Id="rId332" Type="http://schemas.openxmlformats.org/officeDocument/2006/relationships/tags" Target="../tags/tag342.xml"/><Relationship Id="rId353" Type="http://schemas.openxmlformats.org/officeDocument/2006/relationships/tags" Target="../tags/tag363.xml"/><Relationship Id="rId374" Type="http://schemas.openxmlformats.org/officeDocument/2006/relationships/tags" Target="../tags/tag384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13" Type="http://schemas.openxmlformats.org/officeDocument/2006/relationships/tags" Target="../tags/tag223.xml"/><Relationship Id="rId234" Type="http://schemas.openxmlformats.org/officeDocument/2006/relationships/tags" Target="../tags/tag244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55" Type="http://schemas.openxmlformats.org/officeDocument/2006/relationships/tags" Target="../tags/tag265.xml"/><Relationship Id="rId276" Type="http://schemas.openxmlformats.org/officeDocument/2006/relationships/tags" Target="../tags/tag286.xml"/><Relationship Id="rId297" Type="http://schemas.openxmlformats.org/officeDocument/2006/relationships/tags" Target="../tags/tag307.xml"/><Relationship Id="rId40" Type="http://schemas.openxmlformats.org/officeDocument/2006/relationships/tags" Target="../tags/tag50.xml"/><Relationship Id="rId115" Type="http://schemas.openxmlformats.org/officeDocument/2006/relationships/tags" Target="../tags/tag125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Relationship Id="rId301" Type="http://schemas.openxmlformats.org/officeDocument/2006/relationships/tags" Target="../tags/tag311.xml"/><Relationship Id="rId322" Type="http://schemas.openxmlformats.org/officeDocument/2006/relationships/tags" Target="../tags/tag332.xml"/><Relationship Id="rId343" Type="http://schemas.openxmlformats.org/officeDocument/2006/relationships/tags" Target="../tags/tag353.xml"/><Relationship Id="rId364" Type="http://schemas.openxmlformats.org/officeDocument/2006/relationships/tags" Target="../tags/tag374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9" Type="http://schemas.openxmlformats.org/officeDocument/2006/relationships/tags" Target="../tags/tag209.xml"/><Relationship Id="rId203" Type="http://schemas.openxmlformats.org/officeDocument/2006/relationships/tags" Target="../tags/tag213.xml"/><Relationship Id="rId19" Type="http://schemas.openxmlformats.org/officeDocument/2006/relationships/tags" Target="../tags/tag29.xml"/><Relationship Id="rId224" Type="http://schemas.openxmlformats.org/officeDocument/2006/relationships/tags" Target="../tags/tag234.xml"/><Relationship Id="rId245" Type="http://schemas.openxmlformats.org/officeDocument/2006/relationships/tags" Target="../tags/tag255.xml"/><Relationship Id="rId266" Type="http://schemas.openxmlformats.org/officeDocument/2006/relationships/tags" Target="../tags/tag276.xml"/><Relationship Id="rId287" Type="http://schemas.openxmlformats.org/officeDocument/2006/relationships/tags" Target="../tags/tag297.xml"/><Relationship Id="rId30" Type="http://schemas.openxmlformats.org/officeDocument/2006/relationships/tags" Target="../tags/tag4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312" Type="http://schemas.openxmlformats.org/officeDocument/2006/relationships/tags" Target="../tags/tag322.xml"/><Relationship Id="rId333" Type="http://schemas.openxmlformats.org/officeDocument/2006/relationships/tags" Target="../tags/tag343.xml"/><Relationship Id="rId354" Type="http://schemas.openxmlformats.org/officeDocument/2006/relationships/tags" Target="../tags/tag364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189" Type="http://schemas.openxmlformats.org/officeDocument/2006/relationships/tags" Target="../tags/tag199.xml"/><Relationship Id="rId375" Type="http://schemas.openxmlformats.org/officeDocument/2006/relationships/tags" Target="../tags/tag385.xml"/><Relationship Id="rId3" Type="http://schemas.openxmlformats.org/officeDocument/2006/relationships/tags" Target="../tags/tag13.xml"/><Relationship Id="rId214" Type="http://schemas.openxmlformats.org/officeDocument/2006/relationships/tags" Target="../tags/tag224.xml"/><Relationship Id="rId235" Type="http://schemas.openxmlformats.org/officeDocument/2006/relationships/tags" Target="../tags/tag245.xml"/><Relationship Id="rId256" Type="http://schemas.openxmlformats.org/officeDocument/2006/relationships/tags" Target="../tags/tag266.xml"/><Relationship Id="rId277" Type="http://schemas.openxmlformats.org/officeDocument/2006/relationships/tags" Target="../tags/tag287.xml"/><Relationship Id="rId298" Type="http://schemas.openxmlformats.org/officeDocument/2006/relationships/tags" Target="../tags/tag308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302" Type="http://schemas.openxmlformats.org/officeDocument/2006/relationships/tags" Target="../tags/tag312.xml"/><Relationship Id="rId323" Type="http://schemas.openxmlformats.org/officeDocument/2006/relationships/tags" Target="../tags/tag333.xml"/><Relationship Id="rId344" Type="http://schemas.openxmlformats.org/officeDocument/2006/relationships/tags" Target="../tags/tag354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179" Type="http://schemas.openxmlformats.org/officeDocument/2006/relationships/tags" Target="../tags/tag189.xml"/><Relationship Id="rId365" Type="http://schemas.openxmlformats.org/officeDocument/2006/relationships/tags" Target="../tags/tag375.xml"/><Relationship Id="rId190" Type="http://schemas.openxmlformats.org/officeDocument/2006/relationships/tags" Target="../tags/tag200.xml"/><Relationship Id="rId204" Type="http://schemas.openxmlformats.org/officeDocument/2006/relationships/tags" Target="../tags/tag214.xml"/><Relationship Id="rId225" Type="http://schemas.openxmlformats.org/officeDocument/2006/relationships/tags" Target="../tags/tag235.xml"/><Relationship Id="rId246" Type="http://schemas.openxmlformats.org/officeDocument/2006/relationships/tags" Target="../tags/tag256.xml"/><Relationship Id="rId267" Type="http://schemas.openxmlformats.org/officeDocument/2006/relationships/tags" Target="../tags/tag277.xml"/><Relationship Id="rId288" Type="http://schemas.openxmlformats.org/officeDocument/2006/relationships/tags" Target="../tags/tag298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313" Type="http://schemas.openxmlformats.org/officeDocument/2006/relationships/tags" Target="../tags/tag323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94" Type="http://schemas.openxmlformats.org/officeDocument/2006/relationships/tags" Target="../tags/tag104.xml"/><Relationship Id="rId148" Type="http://schemas.openxmlformats.org/officeDocument/2006/relationships/tags" Target="../tags/tag158.xml"/><Relationship Id="rId169" Type="http://schemas.openxmlformats.org/officeDocument/2006/relationships/tags" Target="../tags/tag179.xml"/><Relationship Id="rId334" Type="http://schemas.openxmlformats.org/officeDocument/2006/relationships/tags" Target="../tags/tag344.xml"/><Relationship Id="rId355" Type="http://schemas.openxmlformats.org/officeDocument/2006/relationships/tags" Target="../tags/tag365.xml"/><Relationship Id="rId376" Type="http://schemas.openxmlformats.org/officeDocument/2006/relationships/tags" Target="../tags/tag386.xml"/><Relationship Id="rId4" Type="http://schemas.openxmlformats.org/officeDocument/2006/relationships/tags" Target="../tags/tag14.xml"/><Relationship Id="rId180" Type="http://schemas.openxmlformats.org/officeDocument/2006/relationships/tags" Target="../tags/tag190.xml"/><Relationship Id="rId215" Type="http://schemas.openxmlformats.org/officeDocument/2006/relationships/tags" Target="../tags/tag225.xml"/><Relationship Id="rId236" Type="http://schemas.openxmlformats.org/officeDocument/2006/relationships/tags" Target="../tags/tag246.xml"/><Relationship Id="rId257" Type="http://schemas.openxmlformats.org/officeDocument/2006/relationships/tags" Target="../tags/tag267.xml"/><Relationship Id="rId278" Type="http://schemas.openxmlformats.org/officeDocument/2006/relationships/tags" Target="../tags/tag288.xml"/><Relationship Id="rId303" Type="http://schemas.openxmlformats.org/officeDocument/2006/relationships/tags" Target="../tags/tag313.xml"/><Relationship Id="rId42" Type="http://schemas.openxmlformats.org/officeDocument/2006/relationships/tags" Target="../tags/tag52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345" Type="http://schemas.openxmlformats.org/officeDocument/2006/relationships/tags" Target="../tags/tag355.xml"/><Relationship Id="rId191" Type="http://schemas.openxmlformats.org/officeDocument/2006/relationships/tags" Target="../tags/tag201.xml"/><Relationship Id="rId205" Type="http://schemas.openxmlformats.org/officeDocument/2006/relationships/tags" Target="../tags/tag215.xml"/><Relationship Id="rId247" Type="http://schemas.openxmlformats.org/officeDocument/2006/relationships/tags" Target="../tags/tag257.xml"/><Relationship Id="rId107" Type="http://schemas.openxmlformats.org/officeDocument/2006/relationships/tags" Target="../tags/tag117.xml"/><Relationship Id="rId289" Type="http://schemas.openxmlformats.org/officeDocument/2006/relationships/tags" Target="../tags/tag299.xml"/><Relationship Id="rId11" Type="http://schemas.openxmlformats.org/officeDocument/2006/relationships/tags" Target="../tags/tag21.xml"/><Relationship Id="rId53" Type="http://schemas.openxmlformats.org/officeDocument/2006/relationships/tags" Target="../tags/tag63.xml"/><Relationship Id="rId149" Type="http://schemas.openxmlformats.org/officeDocument/2006/relationships/tags" Target="../tags/tag159.xml"/><Relationship Id="rId314" Type="http://schemas.openxmlformats.org/officeDocument/2006/relationships/tags" Target="../tags/tag324.xml"/><Relationship Id="rId356" Type="http://schemas.openxmlformats.org/officeDocument/2006/relationships/tags" Target="../tags/tag366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216" Type="http://schemas.openxmlformats.org/officeDocument/2006/relationships/tags" Target="../tags/tag226.xml"/><Relationship Id="rId258" Type="http://schemas.openxmlformats.org/officeDocument/2006/relationships/tags" Target="../tags/tag268.xml"/><Relationship Id="rId22" Type="http://schemas.openxmlformats.org/officeDocument/2006/relationships/tags" Target="../tags/tag32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325" Type="http://schemas.openxmlformats.org/officeDocument/2006/relationships/tags" Target="../tags/tag335.xml"/><Relationship Id="rId367" Type="http://schemas.openxmlformats.org/officeDocument/2006/relationships/tags" Target="../tags/tag377.xml"/><Relationship Id="rId171" Type="http://schemas.openxmlformats.org/officeDocument/2006/relationships/tags" Target="../tags/tag181.xml"/><Relationship Id="rId227" Type="http://schemas.openxmlformats.org/officeDocument/2006/relationships/tags" Target="../tags/tag237.xml"/><Relationship Id="rId269" Type="http://schemas.openxmlformats.org/officeDocument/2006/relationships/tags" Target="../tags/tag279.xml"/><Relationship Id="rId33" Type="http://schemas.openxmlformats.org/officeDocument/2006/relationships/tags" Target="../tags/tag43.xml"/><Relationship Id="rId129" Type="http://schemas.openxmlformats.org/officeDocument/2006/relationships/tags" Target="../tags/tag139.xml"/><Relationship Id="rId280" Type="http://schemas.openxmlformats.org/officeDocument/2006/relationships/tags" Target="../tags/tag290.xml"/><Relationship Id="rId336" Type="http://schemas.openxmlformats.org/officeDocument/2006/relationships/tags" Target="../tags/tag346.xml"/><Relationship Id="rId75" Type="http://schemas.openxmlformats.org/officeDocument/2006/relationships/tags" Target="../tags/tag85.xml"/><Relationship Id="rId140" Type="http://schemas.openxmlformats.org/officeDocument/2006/relationships/tags" Target="../tags/tag150.xml"/><Relationship Id="rId182" Type="http://schemas.openxmlformats.org/officeDocument/2006/relationships/tags" Target="../tags/tag192.xml"/><Relationship Id="rId378" Type="http://schemas.openxmlformats.org/officeDocument/2006/relationships/tags" Target="../tags/tag388.xml"/><Relationship Id="rId6" Type="http://schemas.openxmlformats.org/officeDocument/2006/relationships/tags" Target="../tags/tag16.xml"/><Relationship Id="rId238" Type="http://schemas.openxmlformats.org/officeDocument/2006/relationships/tags" Target="../tags/tag248.xml"/><Relationship Id="rId291" Type="http://schemas.openxmlformats.org/officeDocument/2006/relationships/tags" Target="../tags/tag301.xml"/><Relationship Id="rId305" Type="http://schemas.openxmlformats.org/officeDocument/2006/relationships/tags" Target="../tags/tag315.xml"/><Relationship Id="rId347" Type="http://schemas.openxmlformats.org/officeDocument/2006/relationships/tags" Target="../tags/tag357.xml"/><Relationship Id="rId44" Type="http://schemas.openxmlformats.org/officeDocument/2006/relationships/tags" Target="../tags/tag54.xml"/><Relationship Id="rId86" Type="http://schemas.openxmlformats.org/officeDocument/2006/relationships/tags" Target="../tags/tag96.xml"/><Relationship Id="rId151" Type="http://schemas.openxmlformats.org/officeDocument/2006/relationships/tags" Target="../tags/tag161.xml"/><Relationship Id="rId193" Type="http://schemas.openxmlformats.org/officeDocument/2006/relationships/tags" Target="../tags/tag203.xml"/><Relationship Id="rId207" Type="http://schemas.openxmlformats.org/officeDocument/2006/relationships/tags" Target="../tags/tag217.xml"/><Relationship Id="rId249" Type="http://schemas.openxmlformats.org/officeDocument/2006/relationships/tags" Target="../tags/tag259.xml"/><Relationship Id="rId13" Type="http://schemas.openxmlformats.org/officeDocument/2006/relationships/tags" Target="../tags/tag23.xml"/><Relationship Id="rId109" Type="http://schemas.openxmlformats.org/officeDocument/2006/relationships/tags" Target="../tags/tag119.xml"/><Relationship Id="rId260" Type="http://schemas.openxmlformats.org/officeDocument/2006/relationships/tags" Target="../tags/tag270.xml"/><Relationship Id="rId316" Type="http://schemas.openxmlformats.org/officeDocument/2006/relationships/tags" Target="../tags/tag326.xml"/><Relationship Id="rId55" Type="http://schemas.openxmlformats.org/officeDocument/2006/relationships/tags" Target="../tags/tag65.xml"/><Relationship Id="rId97" Type="http://schemas.openxmlformats.org/officeDocument/2006/relationships/tags" Target="../tags/tag107.xml"/><Relationship Id="rId120" Type="http://schemas.openxmlformats.org/officeDocument/2006/relationships/tags" Target="../tags/tag130.xml"/><Relationship Id="rId358" Type="http://schemas.openxmlformats.org/officeDocument/2006/relationships/tags" Target="../tags/tag368.xml"/><Relationship Id="rId162" Type="http://schemas.openxmlformats.org/officeDocument/2006/relationships/tags" Target="../tags/tag172.xml"/><Relationship Id="rId218" Type="http://schemas.openxmlformats.org/officeDocument/2006/relationships/tags" Target="../tags/tag228.xml"/><Relationship Id="rId271" Type="http://schemas.openxmlformats.org/officeDocument/2006/relationships/tags" Target="../tags/tag281.xml"/><Relationship Id="rId24" Type="http://schemas.openxmlformats.org/officeDocument/2006/relationships/tags" Target="../tags/tag34.xml"/><Relationship Id="rId66" Type="http://schemas.openxmlformats.org/officeDocument/2006/relationships/tags" Target="../tags/tag76.xml"/><Relationship Id="rId131" Type="http://schemas.openxmlformats.org/officeDocument/2006/relationships/tags" Target="../tags/tag141.xml"/><Relationship Id="rId327" Type="http://schemas.openxmlformats.org/officeDocument/2006/relationships/tags" Target="../tags/tag337.xml"/><Relationship Id="rId369" Type="http://schemas.openxmlformats.org/officeDocument/2006/relationships/tags" Target="../tags/tag379.xml"/><Relationship Id="rId173" Type="http://schemas.openxmlformats.org/officeDocument/2006/relationships/tags" Target="../tags/tag183.xml"/><Relationship Id="rId229" Type="http://schemas.openxmlformats.org/officeDocument/2006/relationships/tags" Target="../tags/tag239.xml"/><Relationship Id="rId380" Type="http://schemas.openxmlformats.org/officeDocument/2006/relationships/tags" Target="../tags/tag390.xml"/><Relationship Id="rId240" Type="http://schemas.openxmlformats.org/officeDocument/2006/relationships/tags" Target="../tags/tag250.xml"/><Relationship Id="rId35" Type="http://schemas.openxmlformats.org/officeDocument/2006/relationships/tags" Target="../tags/tag45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282" Type="http://schemas.openxmlformats.org/officeDocument/2006/relationships/tags" Target="../tags/tag292.xml"/><Relationship Id="rId338" Type="http://schemas.openxmlformats.org/officeDocument/2006/relationships/tags" Target="../tags/tag348.xml"/><Relationship Id="rId8" Type="http://schemas.openxmlformats.org/officeDocument/2006/relationships/tags" Target="../tags/tag18.xml"/><Relationship Id="rId142" Type="http://schemas.openxmlformats.org/officeDocument/2006/relationships/tags" Target="../tags/tag152.xml"/><Relationship Id="rId184" Type="http://schemas.openxmlformats.org/officeDocument/2006/relationships/tags" Target="../tags/tag194.xml"/><Relationship Id="rId251" Type="http://schemas.openxmlformats.org/officeDocument/2006/relationships/tags" Target="../tags/tag261.xml"/><Relationship Id="rId46" Type="http://schemas.openxmlformats.org/officeDocument/2006/relationships/tags" Target="../tags/tag56.xml"/><Relationship Id="rId293" Type="http://schemas.openxmlformats.org/officeDocument/2006/relationships/tags" Target="../tags/tag303.xml"/><Relationship Id="rId307" Type="http://schemas.openxmlformats.org/officeDocument/2006/relationships/tags" Target="../tags/tag317.xml"/><Relationship Id="rId349" Type="http://schemas.openxmlformats.org/officeDocument/2006/relationships/tags" Target="../tags/tag359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53" Type="http://schemas.openxmlformats.org/officeDocument/2006/relationships/tags" Target="../tags/tag163.xml"/><Relationship Id="rId195" Type="http://schemas.openxmlformats.org/officeDocument/2006/relationships/tags" Target="../tags/tag205.xml"/><Relationship Id="rId209" Type="http://schemas.openxmlformats.org/officeDocument/2006/relationships/tags" Target="../tags/tag219.xml"/><Relationship Id="rId360" Type="http://schemas.openxmlformats.org/officeDocument/2006/relationships/tags" Target="../tags/tag370.xml"/><Relationship Id="rId220" Type="http://schemas.openxmlformats.org/officeDocument/2006/relationships/tags" Target="../tags/tag230.xml"/><Relationship Id="rId15" Type="http://schemas.openxmlformats.org/officeDocument/2006/relationships/tags" Target="../tags/tag25.xml"/><Relationship Id="rId57" Type="http://schemas.openxmlformats.org/officeDocument/2006/relationships/tags" Target="../tags/tag67.xml"/><Relationship Id="rId262" Type="http://schemas.openxmlformats.org/officeDocument/2006/relationships/tags" Target="../tags/tag272.xml"/><Relationship Id="rId318" Type="http://schemas.openxmlformats.org/officeDocument/2006/relationships/tags" Target="../tags/tag328.xml"/><Relationship Id="rId99" Type="http://schemas.openxmlformats.org/officeDocument/2006/relationships/tags" Target="../tags/tag109.xml"/><Relationship Id="rId122" Type="http://schemas.openxmlformats.org/officeDocument/2006/relationships/tags" Target="../tags/tag132.xml"/><Relationship Id="rId164" Type="http://schemas.openxmlformats.org/officeDocument/2006/relationships/tags" Target="../tags/tag174.xml"/><Relationship Id="rId371" Type="http://schemas.openxmlformats.org/officeDocument/2006/relationships/tags" Target="../tags/tag38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gi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0.jp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7.png"/><Relationship Id="rId7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can.gc.ca/eng/rtra/rtra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hyperlink" Target="https://casd.eu/event/2016/video-thomas-piketty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ab.de/188/section.aspx/Publikation/k141201301" TargetMode="External"/><Relationship Id="rId2" Type="http://schemas.openxmlformats.org/officeDocument/2006/relationships/hyperlink" Target="http://www.iab.de/389/section.aspx/Publikation/k100128n09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census.gov/history/pdf/kraus-natdatacenter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fidentiality protection and physical safeguard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071478"/>
          </a:xfrm>
        </p:spPr>
        <p:txBody>
          <a:bodyPr>
            <a:normAutofit/>
          </a:bodyPr>
          <a:lstStyle/>
          <a:p>
            <a:r>
              <a:rPr lang="en-US" dirty="0"/>
              <a:t>Lars Vilhuber</a:t>
            </a:r>
          </a:p>
          <a:p>
            <a:r>
              <a:rPr lang="en-US" dirty="0"/>
              <a:t>Cornell Universit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1600" dirty="0"/>
              <a:t>Funding acknowledged under NSF-</a:t>
            </a:r>
            <a:r>
              <a:rPr lang="en-US" sz="1600" dirty="0">
                <a:hlinkClick r:id="rId2"/>
              </a:rPr>
              <a:t>#1131848 (NCRN)</a:t>
            </a:r>
            <a:r>
              <a:rPr lang="en-US" sz="1600" dirty="0"/>
              <a:t> and a grant from the Alfred P. Sloan Foundation </a:t>
            </a:r>
          </a:p>
        </p:txBody>
      </p:sp>
    </p:spTree>
    <p:extLst>
      <p:ext uri="{BB962C8B-B14F-4D97-AF65-F5344CB8AC3E}">
        <p14:creationId xmlns:p14="http://schemas.microsoft.com/office/powerpoint/2010/main" val="144385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903"/>
    </mc:Choice>
    <mc:Fallback xmlns="">
      <p:transition spd="slow" advTm="1090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data encla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Synonyms:</a:t>
            </a:r>
          </a:p>
          <a:p>
            <a:pPr marL="0" indent="0" algn="ctr">
              <a:buNone/>
            </a:pPr>
            <a:r>
              <a:rPr lang="en-US" sz="6000" dirty="0"/>
              <a:t>VDI</a:t>
            </a:r>
          </a:p>
          <a:p>
            <a:pPr marL="0" indent="0" algn="ctr">
              <a:buNone/>
            </a:pPr>
            <a:r>
              <a:rPr lang="en-US" sz="1400" dirty="0"/>
              <a:t>(virtual desktop infrastructure)</a:t>
            </a:r>
          </a:p>
          <a:p>
            <a:pPr marL="0" indent="0" algn="ctr">
              <a:buNone/>
            </a:pPr>
            <a:r>
              <a:rPr lang="en-US" sz="6000" dirty="0"/>
              <a:t>Thin clients</a:t>
            </a:r>
          </a:p>
          <a:p>
            <a:pPr marL="0" indent="0" algn="ctr">
              <a:buNone/>
            </a:pPr>
            <a:r>
              <a:rPr lang="en-US" sz="6000" dirty="0"/>
              <a:t>Remote desktop</a:t>
            </a:r>
          </a:p>
          <a:p>
            <a:pPr marL="0" indent="0" algn="ctr">
              <a:buNone/>
            </a:pP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59728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498"/>
    </mc:Choice>
    <mc:Fallback xmlns="">
      <p:transition spd="slow" advTm="104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in 1990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388093"/>
            <a:ext cx="5181600" cy="3788870"/>
          </a:xfrm>
        </p:spPr>
        <p:txBody>
          <a:bodyPr/>
          <a:lstStyle/>
          <a:p>
            <a:r>
              <a:rPr lang="en-US" dirty="0"/>
              <a:t>BLS HQ </a:t>
            </a:r>
          </a:p>
          <a:p>
            <a:r>
              <a:rPr lang="en-US" dirty="0"/>
              <a:t>BJS data access</a:t>
            </a:r>
          </a:p>
          <a:p>
            <a:r>
              <a:rPr lang="en-US" dirty="0"/>
              <a:t>Department of Education data</a:t>
            </a:r>
          </a:p>
          <a:p>
            <a:r>
              <a:rPr lang="en-US" dirty="0"/>
              <a:t>Census Bureau RDCs </a:t>
            </a:r>
          </a:p>
          <a:p>
            <a:r>
              <a:rPr lang="en-US" dirty="0"/>
              <a:t>Canadian RDCs</a:t>
            </a:r>
          </a:p>
          <a:p>
            <a:r>
              <a:rPr lang="en-US" dirty="0"/>
              <a:t>HRS restricted-access data</a:t>
            </a:r>
          </a:p>
          <a:p>
            <a:r>
              <a:rPr lang="en-US" dirty="0"/>
              <a:t>and many mo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0" y="1690688"/>
            <a:ext cx="5181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Physical data enclav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72199" y="1675299"/>
            <a:ext cx="41991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Virtual data enclaves</a:t>
            </a:r>
          </a:p>
          <a:p>
            <a:r>
              <a:rPr lang="en-US" dirty="0"/>
              <a:t>(data remains in secure data center) </a:t>
            </a:r>
          </a:p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6172200" y="2494625"/>
            <a:ext cx="5181600" cy="36823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74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537"/>
    </mc:Choice>
    <mc:Fallback xmlns="">
      <p:transition spd="slow" advTm="33537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in 201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388093"/>
            <a:ext cx="5181600" cy="3788870"/>
          </a:xfrm>
        </p:spPr>
        <p:txBody>
          <a:bodyPr>
            <a:normAutofit/>
          </a:bodyPr>
          <a:lstStyle/>
          <a:p>
            <a:r>
              <a:rPr lang="en-US" dirty="0"/>
              <a:t>BLS HQ  ?</a:t>
            </a:r>
          </a:p>
          <a:p>
            <a:r>
              <a:rPr lang="en-US" dirty="0"/>
              <a:t>BJS data access</a:t>
            </a:r>
          </a:p>
          <a:p>
            <a:r>
              <a:rPr lang="en-US" dirty="0"/>
              <a:t>Department of Education data</a:t>
            </a:r>
          </a:p>
          <a:p>
            <a:r>
              <a:rPr lang="en-US" strike="sngStrike" dirty="0">
                <a:solidFill>
                  <a:srgbClr val="FF0000"/>
                </a:solidFill>
              </a:rPr>
              <a:t>Census Bureau RDCs </a:t>
            </a:r>
          </a:p>
          <a:p>
            <a:r>
              <a:rPr lang="en-US" dirty="0"/>
              <a:t>Canadian RDCs</a:t>
            </a:r>
          </a:p>
          <a:p>
            <a:r>
              <a:rPr lang="en-US" strike="sngStrike" dirty="0">
                <a:solidFill>
                  <a:srgbClr val="FF0000"/>
                </a:solidFill>
              </a:rPr>
              <a:t>HRS restricted-access data</a:t>
            </a:r>
          </a:p>
          <a:p>
            <a:r>
              <a:rPr lang="en-US" dirty="0"/>
              <a:t>and many mo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0" y="1690688"/>
            <a:ext cx="5181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Physical data enclav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72199" y="1675299"/>
            <a:ext cx="41991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Virtual data enclaves</a:t>
            </a:r>
          </a:p>
          <a:p>
            <a:r>
              <a:rPr lang="en-US" dirty="0"/>
              <a:t>(data remains in secure data center) </a:t>
            </a:r>
          </a:p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6172200" y="2494625"/>
            <a:ext cx="5181600" cy="3682338"/>
          </a:xfrm>
        </p:spPr>
        <p:txBody>
          <a:bodyPr>
            <a:normAutofit/>
          </a:bodyPr>
          <a:lstStyle/>
          <a:p>
            <a:r>
              <a:rPr lang="en-US" dirty="0"/>
              <a:t>Census Bureau/Federal Statistical RDCs</a:t>
            </a:r>
          </a:p>
          <a:p>
            <a:r>
              <a:rPr lang="en-US" dirty="0"/>
              <a:t>German IAB RDCs</a:t>
            </a:r>
          </a:p>
          <a:p>
            <a:r>
              <a:rPr lang="en-US" dirty="0"/>
              <a:t>French CASD </a:t>
            </a:r>
          </a:p>
          <a:p>
            <a:r>
              <a:rPr lang="en-US" dirty="0"/>
              <a:t>Cornell’s CRADC, NORC</a:t>
            </a:r>
          </a:p>
          <a:p>
            <a:r>
              <a:rPr lang="en-US" dirty="0"/>
              <a:t>HRS restricted access data</a:t>
            </a:r>
          </a:p>
          <a:p>
            <a:r>
              <a:rPr lang="en-US" dirty="0"/>
              <a:t>and many </a:t>
            </a:r>
            <a:r>
              <a:rPr lang="en-US" dirty="0" err="1"/>
              <a:t>many</a:t>
            </a:r>
            <a:r>
              <a:rPr lang="en-US" dirty="0"/>
              <a:t> more</a:t>
            </a:r>
          </a:p>
        </p:txBody>
      </p:sp>
    </p:spTree>
    <p:extLst>
      <p:ext uri="{BB962C8B-B14F-4D97-AF65-F5344CB8AC3E}">
        <p14:creationId xmlns:p14="http://schemas.microsoft.com/office/powerpoint/2010/main" val="105752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292"/>
    </mc:Choice>
    <mc:Fallback xmlns="">
      <p:transition spd="slow" advTm="592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basic lever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grpSp>
        <p:nvGrpSpPr>
          <p:cNvPr id="13" name="Group 12"/>
          <p:cNvGrpSpPr/>
          <p:nvPr/>
        </p:nvGrpSpPr>
        <p:grpSpPr>
          <a:xfrm>
            <a:off x="6693922" y="1860356"/>
            <a:ext cx="4862202" cy="4201676"/>
            <a:chOff x="6693922" y="1860356"/>
            <a:chExt cx="4862202" cy="4201676"/>
          </a:xfrm>
        </p:grpSpPr>
        <p:sp>
          <p:nvSpPr>
            <p:cNvPr id="9" name="TextBox 8"/>
            <p:cNvSpPr txBox="1"/>
            <p:nvPr/>
          </p:nvSpPr>
          <p:spPr>
            <a:xfrm>
              <a:off x="9412014" y="5692700"/>
              <a:ext cx="21441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What type of room?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93922" y="1860356"/>
              <a:ext cx="29432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What type of access device?</a:t>
              </a:r>
            </a:p>
          </p:txBody>
        </p:sp>
        <p:cxnSp>
          <p:nvCxnSpPr>
            <p:cNvPr id="12" name="Straight Arrow Connector 11"/>
            <p:cNvCxnSpPr>
              <a:cxnSpLocks/>
            </p:cNvCxnSpPr>
            <p:nvPr/>
          </p:nvCxnSpPr>
          <p:spPr>
            <a:xfrm>
              <a:off x="7970928" y="2288628"/>
              <a:ext cx="783090" cy="1250669"/>
            </a:xfrm>
            <a:prstGeom prst="straightConnector1">
              <a:avLst/>
            </a:prstGeom>
            <a:ln w="412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>
              <a:cxnSpLocks/>
              <a:stCxn id="9" idx="0"/>
            </p:cNvCxnSpPr>
            <p:nvPr/>
          </p:nvCxnSpPr>
          <p:spPr>
            <a:xfrm flipH="1" flipV="1">
              <a:off x="9637173" y="4682359"/>
              <a:ext cx="846896" cy="1010341"/>
            </a:xfrm>
            <a:prstGeom prst="straightConnector1">
              <a:avLst/>
            </a:prstGeom>
            <a:ln w="412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186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61"/>
    </mc:Choice>
    <mc:Fallback xmlns="">
      <p:transition spd="slow" advTm="70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4.81481E-6 L -0.28789 0.0002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0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65125"/>
            <a:ext cx="9784080" cy="1325563"/>
          </a:xfrm>
        </p:spPr>
        <p:txBody>
          <a:bodyPr/>
          <a:lstStyle/>
          <a:p>
            <a:r>
              <a:rPr lang="en-US" dirty="0"/>
              <a:t>basic levers</a:t>
            </a:r>
          </a:p>
        </p:txBody>
      </p:sp>
      <p:pic>
        <p:nvPicPr>
          <p:cNvPr id="16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470" y="2963069"/>
            <a:ext cx="2381250" cy="2076450"/>
          </a:xfrm>
          <a:prstGeom prst="rect">
            <a:avLst/>
          </a:prstGeom>
        </p:spPr>
      </p:pic>
      <p:cxnSp>
        <p:nvCxnSpPr>
          <p:cNvPr id="8" name="Straight Connector 7"/>
          <p:cNvCxnSpPr>
            <a:cxnSpLocks/>
          </p:cNvCxnSpPr>
          <p:nvPr/>
        </p:nvCxnSpPr>
        <p:spPr>
          <a:xfrm>
            <a:off x="493486" y="5377970"/>
            <a:ext cx="10236090" cy="0"/>
          </a:xfrm>
          <a:prstGeom prst="line">
            <a:avLst/>
          </a:prstGeom>
          <a:ln w="123825" cap="rnd">
            <a:solidFill>
              <a:srgbClr val="33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508000" y="6154057"/>
            <a:ext cx="10221576" cy="49371"/>
          </a:xfrm>
          <a:prstGeom prst="line">
            <a:avLst/>
          </a:prstGeom>
          <a:ln w="123825" cap="rnd">
            <a:solidFill>
              <a:srgbClr val="33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4" y="2554884"/>
            <a:ext cx="3166198" cy="211182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1939" y="2428973"/>
            <a:ext cx="1717637" cy="2434965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31" name="Rectangle: Rounded Corners 30"/>
          <p:cNvSpPr/>
          <p:nvPr/>
        </p:nvSpPr>
        <p:spPr>
          <a:xfrm>
            <a:off x="6137807" y="500639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/>
          <p:cNvSpPr/>
          <p:nvPr/>
        </p:nvSpPr>
        <p:spPr>
          <a:xfrm>
            <a:off x="5261838" y="5766014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: Rounded Corners 32"/>
          <p:cNvSpPr/>
          <p:nvPr/>
        </p:nvSpPr>
        <p:spPr>
          <a:xfrm>
            <a:off x="1118424" y="5010432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/>
          <p:cNvSpPr/>
          <p:nvPr/>
        </p:nvSpPr>
        <p:spPr>
          <a:xfrm>
            <a:off x="615764" y="5766013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: Rounded Corners 34"/>
          <p:cNvSpPr/>
          <p:nvPr/>
        </p:nvSpPr>
        <p:spPr>
          <a:xfrm>
            <a:off x="10333078" y="5766012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35"/>
          <p:cNvSpPr/>
          <p:nvPr/>
        </p:nvSpPr>
        <p:spPr>
          <a:xfrm>
            <a:off x="10333077" y="488040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Rounded Corners 36"/>
          <p:cNvSpPr/>
          <p:nvPr/>
        </p:nvSpPr>
        <p:spPr>
          <a:xfrm>
            <a:off x="8131513" y="5006397"/>
            <a:ext cx="261257" cy="759617"/>
          </a:xfrm>
          <a:prstGeom prst="roundRect">
            <a:avLst/>
          </a:prstGeom>
          <a:solidFill>
            <a:srgbClr val="B3B3B3"/>
          </a:solidFill>
          <a:ln w="12700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775" y="1212516"/>
            <a:ext cx="2692625" cy="1433064"/>
          </a:xfrm>
          <a:prstGeom prst="rect">
            <a:avLst/>
          </a:prstGeom>
          <a:effectLst>
            <a:softEdge rad="203200"/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445" y="2461169"/>
            <a:ext cx="1836494" cy="2359441"/>
          </a:xfrm>
          <a:prstGeom prst="rect">
            <a:avLst/>
          </a:prstGeom>
          <a:effectLst>
            <a:softEdge rad="101600"/>
          </a:effectLst>
        </p:spPr>
      </p:pic>
      <p:sp>
        <p:nvSpPr>
          <p:cNvPr id="3" name="TextBox 2"/>
          <p:cNvSpPr txBox="1"/>
          <p:nvPr/>
        </p:nvSpPr>
        <p:spPr>
          <a:xfrm>
            <a:off x="3275701" y="5407057"/>
            <a:ext cx="1678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?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75701" y="6203428"/>
            <a:ext cx="1678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535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940"/>
    </mc:Choice>
    <mc:Fallback xmlns="">
      <p:transition spd="slow" advTm="7494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xit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1" grpId="1" animBg="1"/>
      <p:bldP spid="32" grpId="0" animBg="1"/>
      <p:bldP spid="33" grpId="0" animBg="1"/>
      <p:bldP spid="33" grpId="1" animBg="1"/>
      <p:bldP spid="34" grpId="0" animBg="1"/>
      <p:bldP spid="34" grpId="1" animBg="1"/>
      <p:bldP spid="35" grpId="0" animBg="1"/>
      <p:bldP spid="36" grpId="0" animBg="1"/>
      <p:bldP spid="36" grpId="1" animBg="1"/>
      <p:bldP spid="37" grpId="0" animBg="1"/>
      <p:bldP spid="37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/>
          <p:cNvCxnSpPr/>
          <p:nvPr/>
        </p:nvCxnSpPr>
        <p:spPr>
          <a:xfrm>
            <a:off x="7152699" y="1507808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978529" y="1479665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8623452" y="2433885"/>
            <a:ext cx="479657" cy="80401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2882764" y="2365497"/>
            <a:ext cx="791539" cy="5309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712980" y="1703096"/>
            <a:ext cx="7903579" cy="1692094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458295" y="4769715"/>
            <a:ext cx="3836339" cy="646320"/>
            <a:chOff x="8458295" y="4769715"/>
            <a:chExt cx="3836339" cy="646320"/>
          </a:xfrm>
        </p:grpSpPr>
        <p:sp>
          <p:nvSpPr>
            <p:cNvPr id="6" name="TextBox 5"/>
            <p:cNvSpPr txBox="1"/>
            <p:nvPr/>
          </p:nvSpPr>
          <p:spPr>
            <a:xfrm>
              <a:off x="8869791" y="4769715"/>
              <a:ext cx="3424843" cy="6463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</a:rPr>
                <a:t>Physically secure room</a:t>
              </a:r>
              <a:r>
                <a:rPr lang="en-US" dirty="0"/>
                <a:t> housing access devices and/or data</a:t>
              </a:r>
            </a:p>
          </p:txBody>
        </p:sp>
        <p:cxnSp>
          <p:nvCxnSpPr>
            <p:cNvPr id="8" name="Straight Connector 7"/>
            <p:cNvCxnSpPr>
              <a:stCxn id="5" idx="3"/>
              <a:endCxn id="6" idx="1"/>
            </p:cNvCxnSpPr>
            <p:nvPr/>
          </p:nvCxnSpPr>
          <p:spPr>
            <a:xfrm>
              <a:off x="8458295" y="5075686"/>
              <a:ext cx="411496" cy="17189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4914286" y="4378245"/>
            <a:ext cx="1396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vacy   loss</a:t>
            </a: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4125590" y="4313487"/>
            <a:ext cx="2697251" cy="0"/>
          </a:xfrm>
          <a:prstGeom prst="straightConnector1">
            <a:avLst/>
          </a:prstGeom>
          <a:ln w="38100">
            <a:solidFill>
              <a:srgbClr val="7030A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27679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3796"/>
    </mc:Choice>
    <mc:Fallback xmlns="">
      <p:transition spd="slow" advTm="5379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5" grpId="0" animBg="1"/>
      <p:bldP spid="5" grpId="0" animBg="1"/>
      <p:bldP spid="54" grpId="0" animBg="1"/>
      <p:bldP spid="5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8623452" y="2433885"/>
            <a:ext cx="479657" cy="80401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2882764" y="2365497"/>
            <a:ext cx="791539" cy="5309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712980" y="1703096"/>
            <a:ext cx="7903579" cy="1692094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8458295" y="4414041"/>
            <a:ext cx="3870686" cy="1291232"/>
            <a:chOff x="7087244" y="4493597"/>
            <a:chExt cx="3870686" cy="704072"/>
          </a:xfrm>
          <a:solidFill>
            <a:schemeClr val="bg1"/>
          </a:solidFill>
        </p:grpSpPr>
        <p:sp>
          <p:nvSpPr>
            <p:cNvPr id="6" name="TextBox 5"/>
            <p:cNvSpPr txBox="1"/>
            <p:nvPr/>
          </p:nvSpPr>
          <p:spPr>
            <a:xfrm>
              <a:off x="7533086" y="4543164"/>
              <a:ext cx="3424844" cy="654505"/>
            </a:xfrm>
            <a:prstGeom prst="rect">
              <a:avLst/>
            </a:prstGeom>
            <a:grpFill/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</a:rPr>
                <a:t>Submitting analysis programs</a:t>
              </a:r>
              <a:r>
                <a:rPr lang="en-US" dirty="0"/>
                <a:t> by email or through website (possibly combined with synthetic microdata)</a:t>
              </a:r>
            </a:p>
          </p:txBody>
        </p:sp>
        <p:cxnSp>
          <p:nvCxnSpPr>
            <p:cNvPr id="8" name="Straight Connector 7"/>
            <p:cNvCxnSpPr>
              <a:stCxn id="34" idx="3"/>
              <a:endCxn id="6" idx="1"/>
            </p:cNvCxnSpPr>
            <p:nvPr/>
          </p:nvCxnSpPr>
          <p:spPr>
            <a:xfrm>
              <a:off x="7087244" y="4493597"/>
              <a:ext cx="445842" cy="376820"/>
            </a:xfrm>
            <a:prstGeom prst="lin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8458295" y="2607193"/>
            <a:ext cx="3860755" cy="923330"/>
            <a:chOff x="7114786" y="1556271"/>
            <a:chExt cx="3860755" cy="923330"/>
          </a:xfrm>
        </p:grpSpPr>
        <p:sp>
          <p:nvSpPr>
            <p:cNvPr id="43" name="TextBox 42"/>
            <p:cNvSpPr txBox="1"/>
            <p:nvPr/>
          </p:nvSpPr>
          <p:spPr>
            <a:xfrm>
              <a:off x="7550697" y="1556271"/>
              <a:ext cx="3424844" cy="9233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</a:rPr>
                <a:t>Software on your own PC</a:t>
              </a:r>
              <a:r>
                <a:rPr lang="en-US" dirty="0"/>
                <a:t> giving a view onto secure data environment</a:t>
              </a:r>
            </a:p>
          </p:txBody>
        </p:sp>
        <p:cxnSp>
          <p:nvCxnSpPr>
            <p:cNvPr id="44" name="Straight Connector 43"/>
            <p:cNvCxnSpPr>
              <a:stCxn id="32" idx="3"/>
              <a:endCxn id="43" idx="1"/>
            </p:cNvCxnSpPr>
            <p:nvPr/>
          </p:nvCxnSpPr>
          <p:spPr>
            <a:xfrm flipV="1">
              <a:off x="7114786" y="2017936"/>
              <a:ext cx="435911" cy="988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4" name="Group 63"/>
          <p:cNvGrpSpPr/>
          <p:nvPr/>
        </p:nvGrpSpPr>
        <p:grpSpPr>
          <a:xfrm>
            <a:off x="8458295" y="3540504"/>
            <a:ext cx="3865760" cy="646331"/>
            <a:chOff x="7109781" y="1556271"/>
            <a:chExt cx="3865760" cy="646331"/>
          </a:xfrm>
        </p:grpSpPr>
        <p:sp>
          <p:nvSpPr>
            <p:cNvPr id="65" name="TextBox 64"/>
            <p:cNvSpPr txBox="1"/>
            <p:nvPr/>
          </p:nvSpPr>
          <p:spPr>
            <a:xfrm>
              <a:off x="7550697" y="1556271"/>
              <a:ext cx="3424844" cy="6463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6">
                      <a:lumMod val="75000"/>
                    </a:schemeClr>
                  </a:solidFill>
                </a:rPr>
                <a:t>Secondary secure PC</a:t>
              </a:r>
              <a:r>
                <a:rPr lang="en-US" dirty="0"/>
                <a:t> giving a view onto secure data environment</a:t>
              </a:r>
            </a:p>
          </p:txBody>
        </p:sp>
        <p:cxnSp>
          <p:nvCxnSpPr>
            <p:cNvPr id="66" name="Straight Connector 65"/>
            <p:cNvCxnSpPr>
              <a:stCxn id="27" idx="3"/>
              <a:endCxn id="65" idx="1"/>
            </p:cNvCxnSpPr>
            <p:nvPr/>
          </p:nvCxnSpPr>
          <p:spPr>
            <a:xfrm>
              <a:off x="7109781" y="1746751"/>
              <a:ext cx="440916" cy="13268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178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976">
        <p:fade/>
      </p:transition>
    </mc:Choice>
    <mc:Fallback xmlns="">
      <p:transition spd="med" advTm="2797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2" grpId="0" animBg="1"/>
      <p:bldP spid="3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ype of room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6755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9282399"/>
              </p:ext>
            </p:extLst>
          </p:nvPr>
        </p:nvGraphicFramePr>
        <p:xfrm>
          <a:off x="1554480" y="1512201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29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097442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594344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89958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1779134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# access</a:t>
                      </a:r>
                      <a:br>
                        <a:rPr lang="en-US" dirty="0"/>
                      </a:br>
                      <a:r>
                        <a:rPr lang="en-US" dirty="0"/>
                        <a:t>po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vail. 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ype disclosure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24 sites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~700 users)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staff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n.d.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414 us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371 sites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1471 users)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FF0000"/>
                          </a:solidFill>
                        </a:rPr>
                        <a:t>€300/ pack of 10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388225" y="2779935"/>
            <a:ext cx="9455577" cy="1623041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117912" y="2097577"/>
            <a:ext cx="9725890" cy="74018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463039" y="5433752"/>
            <a:ext cx="9725891" cy="10916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388225" y="4402976"/>
            <a:ext cx="9875520" cy="1030776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388225" y="5425081"/>
            <a:ext cx="9875520" cy="1116320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388225" y="2097575"/>
            <a:ext cx="9800705" cy="673688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669280" y="2011680"/>
            <a:ext cx="1787236" cy="4671753"/>
          </a:xfrm>
          <a:prstGeom prst="rect">
            <a:avLst/>
          </a:prstGeom>
          <a:noFill/>
          <a:ln w="635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114800" y="1226530"/>
            <a:ext cx="3286125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ontrol by data provider of:</a:t>
            </a:r>
          </a:p>
        </p:txBody>
      </p:sp>
    </p:spTree>
    <p:extLst>
      <p:ext uri="{BB962C8B-B14F-4D97-AF65-F5344CB8AC3E}">
        <p14:creationId xmlns:p14="http://schemas.microsoft.com/office/powerpoint/2010/main" val="1575288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8" grpId="1" animBg="1"/>
      <p:bldP spid="9" grpId="0" animBg="1"/>
      <p:bldP spid="9" grpId="1" animBg="1"/>
      <p:bldP spid="3" grpId="0" animBg="1"/>
      <p:bldP spid="10" grpId="0" animBg="1"/>
      <p:bldP spid="13" grpId="0" animBg="1"/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results leave the room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37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of my talk tod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cus on researcher access to authorized </a:t>
            </a:r>
            <a:r>
              <a:rPr lang="en-US" b="1" i="1" dirty="0"/>
              <a:t>microdata</a:t>
            </a:r>
            <a:r>
              <a:rPr lang="en-US" dirty="0"/>
              <a:t> collections of federal statistical data</a:t>
            </a:r>
          </a:p>
          <a:p>
            <a:pPr lvl="1"/>
            <a:r>
              <a:rPr lang="en-US" dirty="0"/>
              <a:t>But private collections face similar issues and use similar mechanisms </a:t>
            </a:r>
          </a:p>
          <a:p>
            <a:r>
              <a:rPr lang="en-US" dirty="0"/>
              <a:t>Focus on the mechanisms for providing access</a:t>
            </a:r>
          </a:p>
          <a:p>
            <a:pPr lvl="1"/>
            <a:r>
              <a:rPr lang="en-US" dirty="0"/>
              <a:t>Mostly </a:t>
            </a:r>
            <a:r>
              <a:rPr lang="en-US" b="1" i="1" dirty="0"/>
              <a:t>physical access controls</a:t>
            </a:r>
          </a:p>
          <a:p>
            <a:pPr lvl="1"/>
            <a:r>
              <a:rPr lang="en-US" dirty="0"/>
              <a:t>Role of disclosure avoidance mechanisms</a:t>
            </a:r>
          </a:p>
          <a:p>
            <a:r>
              <a:rPr lang="en-US" dirty="0"/>
              <a:t>Highlight the roles of “community”</a:t>
            </a:r>
          </a:p>
          <a:p>
            <a:pPr lvl="1"/>
            <a:r>
              <a:rPr lang="en-US" dirty="0"/>
              <a:t>Training</a:t>
            </a:r>
          </a:p>
          <a:p>
            <a:pPr lvl="1"/>
            <a:r>
              <a:rPr lang="en-US" dirty="0"/>
              <a:t>Legal framework	</a:t>
            </a:r>
          </a:p>
          <a:p>
            <a:pPr lvl="1"/>
            <a:r>
              <a:rPr lang="en-US" dirty="0"/>
              <a:t>Role of institutions</a:t>
            </a:r>
          </a:p>
        </p:txBody>
      </p:sp>
    </p:spTree>
    <p:extLst>
      <p:ext uri="{BB962C8B-B14F-4D97-AF65-F5344CB8AC3E}">
        <p14:creationId xmlns:p14="http://schemas.microsoft.com/office/powerpoint/2010/main" val="215839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686"/>
    </mc:Choice>
    <mc:Fallback xmlns="">
      <p:transition spd="slow" advTm="44686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How do results leave the room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88206" y="2057399"/>
            <a:ext cx="10515600" cy="30765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dirty="0"/>
              <a:t>Typically, the </a:t>
            </a:r>
            <a:r>
              <a:rPr lang="en-US" sz="4400" b="1" dirty="0"/>
              <a:t>researcher</a:t>
            </a:r>
            <a:r>
              <a:rPr lang="en-US" sz="4400" dirty="0"/>
              <a:t> asks an </a:t>
            </a:r>
            <a:r>
              <a:rPr lang="en-US" sz="4400" b="1" dirty="0">
                <a:solidFill>
                  <a:schemeClr val="accent1">
                    <a:lumMod val="50000"/>
                  </a:schemeClr>
                </a:solidFill>
              </a:rPr>
              <a:t>authorized agent </a:t>
            </a:r>
            <a:r>
              <a:rPr lang="en-US" sz="4400" dirty="0"/>
              <a:t>of the data provider to </a:t>
            </a:r>
            <a:r>
              <a:rPr lang="en-US" sz="4400" b="1" dirty="0">
                <a:solidFill>
                  <a:schemeClr val="accent6">
                    <a:lumMod val="75000"/>
                  </a:schemeClr>
                </a:solidFill>
              </a:rPr>
              <a:t>review</a:t>
            </a:r>
            <a:r>
              <a:rPr lang="en-US" sz="4400" dirty="0"/>
              <a:t> the results for </a:t>
            </a:r>
            <a:r>
              <a:rPr lang="en-US" sz="4400" b="1" dirty="0">
                <a:solidFill>
                  <a:schemeClr val="accent6">
                    <a:lumMod val="75000"/>
                  </a:schemeClr>
                </a:solidFill>
              </a:rPr>
              <a:t>risks of disclosure</a:t>
            </a:r>
            <a:r>
              <a:rPr lang="en-US" sz="4400" dirty="0"/>
              <a:t>, and he will then </a:t>
            </a:r>
            <a:r>
              <a:rPr lang="en-US" sz="4400" b="1" dirty="0">
                <a:solidFill>
                  <a:srgbClr val="FFC000"/>
                </a:solidFill>
              </a:rPr>
              <a:t>send them </a:t>
            </a:r>
            <a:r>
              <a:rPr lang="en-US" sz="4400" dirty="0"/>
              <a:t>to the researcher</a:t>
            </a:r>
          </a:p>
        </p:txBody>
      </p:sp>
    </p:spTree>
    <p:extLst>
      <p:ext uri="{BB962C8B-B14F-4D97-AF65-F5344CB8AC3E}">
        <p14:creationId xmlns:p14="http://schemas.microsoft.com/office/powerpoint/2010/main" val="13731695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850775"/>
            <a:ext cx="10515600" cy="332618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6000" dirty="0"/>
              <a:t>What if the “authorized agent” were the researcher?</a:t>
            </a:r>
          </a:p>
        </p:txBody>
      </p:sp>
    </p:spTree>
    <p:extLst>
      <p:ext uri="{BB962C8B-B14F-4D97-AF65-F5344CB8AC3E}">
        <p14:creationId xmlns:p14="http://schemas.microsoft.com/office/powerpoint/2010/main" val="27579398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-controlled release of resul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searcher controls release of results</a:t>
            </a:r>
          </a:p>
          <a:p>
            <a:pPr lvl="1"/>
            <a:r>
              <a:rPr lang="en-US" dirty="0"/>
              <a:t>Prepares results herself</a:t>
            </a:r>
          </a:p>
          <a:p>
            <a:pPr lvl="1"/>
            <a:r>
              <a:rPr lang="en-US" dirty="0"/>
              <a:t>According to certain prescribed rules</a:t>
            </a:r>
          </a:p>
          <a:p>
            <a:pPr lvl="1"/>
            <a:r>
              <a:rPr lang="en-US" dirty="0"/>
              <a:t>Sends them through a system</a:t>
            </a:r>
          </a:p>
          <a:p>
            <a:pPr lvl="1"/>
            <a:r>
              <a:rPr lang="en-US" dirty="0"/>
              <a:t>Automatically receives results typically per email</a:t>
            </a:r>
          </a:p>
          <a:p>
            <a:r>
              <a:rPr lang="en-US" dirty="0"/>
              <a:t>Used</a:t>
            </a:r>
          </a:p>
          <a:p>
            <a:pPr lvl="1"/>
            <a:r>
              <a:rPr lang="en-US" dirty="0"/>
              <a:t>Most often by contractually-controlled non-enclave data</a:t>
            </a:r>
          </a:p>
          <a:p>
            <a:pPr lvl="1"/>
            <a:r>
              <a:rPr lang="en-US" dirty="0"/>
              <a:t>Data in some university- or faculty-controlled enclaves </a:t>
            </a:r>
            <a:r>
              <a:rPr lang="en-US" sz="1800" dirty="0"/>
              <a:t>(HRS, Dept. of Ed)</a:t>
            </a:r>
          </a:p>
          <a:p>
            <a:pPr lvl="1"/>
            <a:r>
              <a:rPr lang="en-US" dirty="0"/>
              <a:t>Danish researcher access system</a:t>
            </a:r>
          </a:p>
        </p:txBody>
      </p:sp>
    </p:spTree>
    <p:extLst>
      <p:ext uri="{BB962C8B-B14F-4D97-AF65-F5344CB8AC3E}">
        <p14:creationId xmlns:p14="http://schemas.microsoft.com/office/powerpoint/2010/main" val="2195033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  </a:t>
            </a:r>
            <a:r>
              <a:rPr lang="en-US" sz="1800" dirty="0">
                <a:solidFill>
                  <a:schemeClr val="bg1"/>
                </a:solidFill>
              </a:rPr>
              <a:t>with researcher-controlled release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38842" y="2382192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lf-controlled release</a:t>
            </a:r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714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609"/>
    </mc:Choice>
    <mc:Fallback xmlns="">
      <p:transition spd="slow" advTm="660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enclaves </a:t>
            </a:r>
            <a:r>
              <a:rPr lang="en-US" sz="2000" dirty="0">
                <a:solidFill>
                  <a:schemeClr val="bg1"/>
                </a:solidFill>
              </a:rPr>
              <a:t>with researcher-controlled release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5" name="Rectangle 44"/>
          <p:cNvSpPr/>
          <p:nvPr/>
        </p:nvSpPr>
        <p:spPr>
          <a:xfrm rot="5400000">
            <a:off x="7966682" y="3437194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lf-controlled releas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45726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8579">
        <p159:morph option="byObject"/>
      </p:transition>
    </mc:Choice>
    <mc:Fallback xmlns="">
      <p:transition spd="slow" advTm="8579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907126"/>
              </p:ext>
            </p:extLst>
          </p:nvPr>
        </p:nvGraphicFramePr>
        <p:xfrm>
          <a:off x="1554480" y="1512201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29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097442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594344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89958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713144">
                  <a:extLst>
                    <a:ext uri="{9D8B030D-6E8A-4147-A177-3AD203B41FA5}">
                      <a16:colId xmlns:a16="http://schemas.microsoft.com/office/drawing/2014/main" val="17791345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# access</a:t>
                      </a:r>
                      <a:br>
                        <a:rPr lang="en-US" dirty="0"/>
                      </a:br>
                      <a:r>
                        <a:rPr lang="en-US" dirty="0"/>
                        <a:t>po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vail. 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ype disclosure avoid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24 sites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~700 users)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staff</a:t>
                      </a:r>
                      <a:r>
                        <a:rPr lang="en-US" baseline="0" dirty="0"/>
                        <a:t> research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n.d.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414 us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371 sites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1471 users)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Manual/ variety</a:t>
                      </a:r>
                      <a:r>
                        <a:rPr lang="en-US" b="1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of ru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FF0000"/>
                          </a:solidFill>
                        </a:rPr>
                        <a:t>€300/ pack of 10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Manual/ self/ variety of ru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02666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388225" y="3682537"/>
            <a:ext cx="7747463" cy="169579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238596" y="5378335"/>
            <a:ext cx="9875520" cy="1238596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117912" y="2097577"/>
            <a:ext cx="8017776" cy="74018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38596" y="2837765"/>
            <a:ext cx="9725891" cy="8447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135688" y="2097576"/>
            <a:ext cx="1708114" cy="65393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135688" y="3804458"/>
            <a:ext cx="1708114" cy="150737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261381" y="2751513"/>
            <a:ext cx="9875520" cy="997527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9158473" y="2097575"/>
            <a:ext cx="1685329" cy="4652360"/>
          </a:xfrm>
          <a:prstGeom prst="rect">
            <a:avLst/>
          </a:prstGeom>
          <a:noFill/>
          <a:ln w="635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114800" y="1226530"/>
            <a:ext cx="3286125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ontrol by data provider of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948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2591"/>
    </mc:Choice>
    <mc:Fallback xmlns="">
      <p:transition spd="slow" advTm="7259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8" grpId="0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0" grpId="0" animBg="1"/>
      <p:bldP spid="1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8702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SRDC and federal employee:</a:t>
            </a:r>
          </a:p>
          <a:p>
            <a:pPr lvl="1"/>
            <a:r>
              <a:rPr lang="en-US" dirty="0"/>
              <a:t>federal prison sentence of up to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five (5)</a:t>
            </a:r>
            <a:r>
              <a:rPr lang="en-US" dirty="0"/>
              <a:t> years, a fine of up to </a:t>
            </a:r>
            <a:r>
              <a:rPr lang="en-US" sz="3200" b="1" dirty="0">
                <a:solidFill>
                  <a:srgbClr val="FF0000"/>
                </a:solidFill>
              </a:rPr>
              <a:t>$250,000</a:t>
            </a:r>
            <a:r>
              <a:rPr lang="en-US" dirty="0"/>
              <a:t>, or both.</a:t>
            </a:r>
          </a:p>
          <a:p>
            <a:r>
              <a:rPr lang="en-US" dirty="0"/>
              <a:t>France:</a:t>
            </a:r>
          </a:p>
          <a:p>
            <a:pPr lvl="1"/>
            <a:r>
              <a:rPr lang="en-US" dirty="0"/>
              <a:t>prison sentence of up to 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one (1)</a:t>
            </a:r>
            <a:r>
              <a:rPr lang="en-US" dirty="0"/>
              <a:t> year, a fine of up to </a:t>
            </a:r>
            <a:r>
              <a:rPr lang="en-US" sz="2800" b="1" dirty="0">
                <a:solidFill>
                  <a:srgbClr val="FF0000"/>
                </a:solidFill>
              </a:rPr>
              <a:t>€15,000</a:t>
            </a:r>
            <a:r>
              <a:rPr lang="en-US" dirty="0"/>
              <a:t>, or both.</a:t>
            </a:r>
          </a:p>
          <a:p>
            <a:r>
              <a:rPr lang="en-US" dirty="0"/>
              <a:t>IAB:</a:t>
            </a:r>
          </a:p>
          <a:p>
            <a:pPr lvl="1"/>
            <a:r>
              <a:rPr lang="en-US" u="sng" dirty="0"/>
              <a:t>Loss of data access </a:t>
            </a:r>
            <a:r>
              <a:rPr lang="en-US" dirty="0"/>
              <a:t>for up to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two (2)</a:t>
            </a:r>
            <a:r>
              <a:rPr lang="en-US" dirty="0"/>
              <a:t> years for researcher and institution</a:t>
            </a:r>
          </a:p>
          <a:p>
            <a:pPr lvl="1"/>
            <a:r>
              <a:rPr lang="en-US" u="sng" dirty="0"/>
              <a:t>Contractual</a:t>
            </a:r>
            <a:r>
              <a:rPr lang="en-US" dirty="0"/>
              <a:t> penalty up to </a:t>
            </a:r>
            <a:r>
              <a:rPr lang="en-US" sz="3200" b="1" dirty="0">
                <a:solidFill>
                  <a:srgbClr val="FF0000"/>
                </a:solidFill>
              </a:rPr>
              <a:t>€60,000</a:t>
            </a:r>
            <a:r>
              <a:rPr lang="en-US" dirty="0"/>
              <a:t> paid by the </a:t>
            </a:r>
            <a:r>
              <a:rPr lang="en-US" b="1" dirty="0"/>
              <a:t>institution</a:t>
            </a:r>
            <a:endParaRPr lang="en-US" b="1" dirty="0">
              <a:solidFill>
                <a:srgbClr val="FF0000"/>
              </a:solidFill>
            </a:endParaRP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88225" y="2237173"/>
            <a:ext cx="9800705" cy="534090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235301" y="4653377"/>
            <a:ext cx="3761051" cy="1019453"/>
          </a:xfrm>
          <a:prstGeom prst="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482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nmark:</a:t>
            </a:r>
          </a:p>
          <a:p>
            <a:pPr lvl="1"/>
            <a:r>
              <a:rPr lang="en-US" dirty="0"/>
              <a:t>Researcher: </a:t>
            </a:r>
            <a:r>
              <a:rPr lang="en-US" u="sng" dirty="0"/>
              <a:t>Loss of data access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for life</a:t>
            </a:r>
            <a:r>
              <a:rPr lang="en-US" dirty="0"/>
              <a:t>, or up to </a:t>
            </a:r>
            <a:r>
              <a:rPr lang="en-US" sz="3000" b="1" dirty="0">
                <a:solidFill>
                  <a:schemeClr val="accent1">
                    <a:lumMod val="50000"/>
                  </a:schemeClr>
                </a:solidFill>
              </a:rPr>
              <a:t>three (3)</a:t>
            </a:r>
            <a:r>
              <a:rPr lang="en-US" dirty="0"/>
              <a:t> years for “minor breaches”</a:t>
            </a:r>
          </a:p>
          <a:p>
            <a:pPr lvl="1"/>
            <a:r>
              <a:rPr lang="en-US" b="1" u="sng" dirty="0"/>
              <a:t>Institution</a:t>
            </a:r>
            <a:r>
              <a:rPr lang="en-US" dirty="0"/>
              <a:t>: Loss of access for a positive but limited (undefined) period</a:t>
            </a:r>
          </a:p>
          <a:p>
            <a:pPr lvl="1"/>
            <a:r>
              <a:rPr lang="en-US" dirty="0"/>
              <a:t>No financial or penal penalt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689600" y="4508500"/>
            <a:ext cx="5664200" cy="1200329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50800" dist="1905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 rtlCol="0">
            <a:spAutoFit/>
          </a:bodyPr>
          <a:lstStyle/>
          <a:p>
            <a:r>
              <a:rPr lang="en-US" b="1" u="sng" dirty="0">
                <a:latin typeface="Comic Sans MS" panose="030F0702030302020204" pitchFamily="66" charset="0"/>
              </a:rPr>
              <a:t>Of Note</a:t>
            </a:r>
            <a:r>
              <a:rPr lang="en-US" dirty="0">
                <a:latin typeface="Comic Sans MS" panose="030F0702030302020204" pitchFamily="66" charset="0"/>
              </a:rPr>
              <a:t>: the FSRDC contract explicitly </a:t>
            </a:r>
            <a:r>
              <a:rPr lang="en-US" u="sng" dirty="0">
                <a:latin typeface="Comic Sans MS" panose="030F0702030302020204" pitchFamily="66" charset="0"/>
              </a:rPr>
              <a:t>excludes</a:t>
            </a:r>
            <a:r>
              <a:rPr lang="en-US" dirty="0">
                <a:latin typeface="Comic Sans MS" panose="030F0702030302020204" pitchFamily="66" charset="0"/>
              </a:rPr>
              <a:t> a responsibility of the university for the actions of its employees, though university remains bound by FWA/IRB.</a:t>
            </a:r>
          </a:p>
        </p:txBody>
      </p:sp>
    </p:spTree>
    <p:extLst>
      <p:ext uri="{BB962C8B-B14F-4D97-AF65-F5344CB8AC3E}">
        <p14:creationId xmlns:p14="http://schemas.microsoft.com/office/powerpoint/2010/main" val="1210659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Does </a:t>
            </a:r>
            <a: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  <a:t>ease of application</a:t>
            </a:r>
            <a:r>
              <a:rPr lang="en-US" sz="4000" dirty="0"/>
              <a:t> matter (penal vs. contractual rules)?</a:t>
            </a:r>
          </a:p>
          <a:p>
            <a:r>
              <a:rPr lang="en-US" sz="4000" dirty="0"/>
              <a:t>Is it conducive to more strongly </a:t>
            </a:r>
            <a:r>
              <a:rPr lang="en-US" sz="4000" b="1" dirty="0">
                <a:solidFill>
                  <a:schemeClr val="accent6">
                    <a:lumMod val="75000"/>
                  </a:schemeClr>
                </a:solidFill>
              </a:rPr>
              <a:t>engage</a:t>
            </a:r>
            <a:r>
              <a:rPr lang="en-US" sz="4000" dirty="0"/>
              <a:t> the researcher’s </a:t>
            </a:r>
            <a:r>
              <a:rPr lang="en-US" sz="4000" b="1" dirty="0">
                <a:solidFill>
                  <a:schemeClr val="accent6">
                    <a:lumMod val="75000"/>
                  </a:schemeClr>
                </a:solidFill>
              </a:rPr>
              <a:t>employer</a:t>
            </a:r>
            <a:r>
              <a:rPr lang="en-US" sz="4000" dirty="0"/>
              <a:t> (typically but not exclusively a university)?</a:t>
            </a:r>
          </a:p>
        </p:txBody>
      </p:sp>
    </p:spTree>
    <p:extLst>
      <p:ext uri="{BB962C8B-B14F-4D97-AF65-F5344CB8AC3E}">
        <p14:creationId xmlns:p14="http://schemas.microsoft.com/office/powerpoint/2010/main" val="2513297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ation trade-offs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2650723" y="1521230"/>
            <a:ext cx="43782" cy="3957444"/>
          </a:xfrm>
          <a:prstGeom prst="straightConnector1">
            <a:avLst/>
          </a:prstGeom>
          <a:ln w="63500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2650723" y="5478674"/>
            <a:ext cx="6584717" cy="1"/>
          </a:xfrm>
          <a:prstGeom prst="straightConnector1">
            <a:avLst/>
          </a:prstGeom>
          <a:ln w="63500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050306" y="5478673"/>
            <a:ext cx="23392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← Loss of detai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2950" y="3237352"/>
            <a:ext cx="2139814" cy="525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se of access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4916627" y="4380846"/>
            <a:ext cx="1396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ivacy   los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127931" y="4316088"/>
            <a:ext cx="2697251" cy="0"/>
          </a:xfrm>
          <a:prstGeom prst="straightConnector1">
            <a:avLst/>
          </a:prstGeom>
          <a:ln w="38100">
            <a:solidFill>
              <a:srgbClr val="7030A0"/>
            </a:solidFill>
            <a:prstDash val="soli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3815542" y="1518410"/>
            <a:ext cx="5839240" cy="3776797"/>
            <a:chOff x="3815542" y="1518410"/>
            <a:chExt cx="5839240" cy="377679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815542" y="152123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4893810" y="152123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050571" y="151982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250403" y="1518410"/>
              <a:ext cx="2404379" cy="3773977"/>
            </a:xfrm>
            <a:prstGeom prst="line">
              <a:avLst/>
            </a:prstGeom>
            <a:ln w="41275">
              <a:solidFill>
                <a:srgbClr val="7030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sp>
        <p:nvSpPr>
          <p:cNvPr id="25" name="Oval 24"/>
          <p:cNvSpPr>
            <a:spLocks noChangeAspect="1"/>
          </p:cNvSpPr>
          <p:nvPr/>
        </p:nvSpPr>
        <p:spPr>
          <a:xfrm>
            <a:off x="3936736" y="2646734"/>
            <a:ext cx="2071869" cy="5358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cap="rnd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ublic-use micro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38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658"/>
    </mc:Choice>
    <mc:Fallback xmlns="">
      <p:transition spd="slow" advTm="3565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7" grpId="0"/>
      <p:bldP spid="2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st and acc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718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st and ac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requent discussion</a:t>
            </a:r>
          </a:p>
          <a:p>
            <a:pPr lvl="1"/>
            <a:r>
              <a:rPr lang="en-US" dirty="0"/>
              <a:t>Security measures are for (malevolent) </a:t>
            </a:r>
            <a:r>
              <a:rPr lang="en-US" sz="3500" b="1" dirty="0">
                <a:solidFill>
                  <a:srgbClr val="FF0000"/>
                </a:solidFill>
              </a:rPr>
              <a:t>intruders</a:t>
            </a:r>
            <a:r>
              <a:rPr lang="en-US" dirty="0"/>
              <a:t>/opponents</a:t>
            </a:r>
          </a:p>
          <a:p>
            <a:pPr lvl="1"/>
            <a:r>
              <a:rPr lang="en-US" dirty="0"/>
              <a:t>Researchers are 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</a:rPr>
              <a:t>trusted</a:t>
            </a:r>
            <a:r>
              <a:rPr lang="en-US" dirty="0"/>
              <a:t> collaborators…</a:t>
            </a:r>
          </a:p>
          <a:p>
            <a:pPr lvl="1"/>
            <a:r>
              <a:rPr lang="en-US" dirty="0"/>
              <a:t>… who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know</a:t>
            </a:r>
            <a:r>
              <a:rPr lang="en-US" dirty="0"/>
              <a:t> what they are doing</a:t>
            </a:r>
          </a:p>
          <a:p>
            <a:r>
              <a:rPr lang="en-US" dirty="0"/>
              <a:t>A corollary:</a:t>
            </a:r>
          </a:p>
          <a:p>
            <a:pPr lvl="1"/>
            <a:r>
              <a:rPr lang="en-US" dirty="0"/>
              <a:t>Protect against the </a:t>
            </a:r>
            <a:r>
              <a:rPr lang="en-US" dirty="0">
                <a:solidFill>
                  <a:srgbClr val="FF0000"/>
                </a:solidFill>
              </a:rPr>
              <a:t>bad</a:t>
            </a:r>
            <a:r>
              <a:rPr lang="en-US" dirty="0"/>
              <a:t> guys</a:t>
            </a:r>
          </a:p>
          <a:p>
            <a:pPr lvl="1"/>
            <a:r>
              <a:rPr lang="en-US" dirty="0"/>
              <a:t>But let the “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good</a:t>
            </a:r>
            <a:r>
              <a:rPr lang="en-US" dirty="0"/>
              <a:t>” guys do their thing</a:t>
            </a:r>
          </a:p>
          <a:p>
            <a:r>
              <a:rPr lang="en-US" dirty="0"/>
              <a:t>Examples:</a:t>
            </a:r>
          </a:p>
          <a:p>
            <a:pPr lvl="1"/>
            <a:r>
              <a:rPr lang="en-US" dirty="0"/>
              <a:t>Network-moderated access</a:t>
            </a:r>
          </a:p>
          <a:p>
            <a:pPr lvl="1"/>
            <a:r>
              <a:rPr lang="en-US" dirty="0"/>
              <a:t>Contracts with disclosure avoidance ru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807229" y="2967008"/>
            <a:ext cx="5677593" cy="1496927"/>
            <a:chOff x="3832167" y="2967008"/>
            <a:chExt cx="5652655" cy="1156105"/>
          </a:xfrm>
        </p:grpSpPr>
        <p:sp>
          <p:nvSpPr>
            <p:cNvPr id="4" name="TextBox 3"/>
            <p:cNvSpPr txBox="1"/>
            <p:nvPr/>
          </p:nvSpPr>
          <p:spPr>
            <a:xfrm>
              <a:off x="7124007" y="2967008"/>
              <a:ext cx="2360815" cy="92333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Lucida Handwriting" panose="03010101010101010101" pitchFamily="66" charset="0"/>
                </a:rPr>
                <a:t>How do you know who the good guys are?</a:t>
              </a:r>
            </a:p>
          </p:txBody>
        </p:sp>
        <p:cxnSp>
          <p:nvCxnSpPr>
            <p:cNvPr id="6" name="Straight Arrow Connector 5"/>
            <p:cNvCxnSpPr/>
            <p:nvPr/>
          </p:nvCxnSpPr>
          <p:spPr>
            <a:xfrm flipH="1">
              <a:off x="3832167" y="3466407"/>
              <a:ext cx="3283528" cy="656706"/>
            </a:xfrm>
            <a:prstGeom prst="straightConnector1">
              <a:avLst/>
            </a:prstGeom>
            <a:ln w="44450">
              <a:solidFill>
                <a:srgbClr val="C00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5087389" y="4463935"/>
            <a:ext cx="5045825" cy="939338"/>
            <a:chOff x="5153891" y="4463935"/>
            <a:chExt cx="4979323" cy="677108"/>
          </a:xfrm>
        </p:grpSpPr>
        <p:sp>
          <p:nvSpPr>
            <p:cNvPr id="9" name="TextBox 8"/>
            <p:cNvSpPr txBox="1"/>
            <p:nvPr/>
          </p:nvSpPr>
          <p:spPr>
            <a:xfrm>
              <a:off x="7124007" y="4463935"/>
              <a:ext cx="3009207" cy="6771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Lucida Handwriting" panose="03010101010101010101" pitchFamily="66" charset="0"/>
                </a:rPr>
                <a:t>Also known as the “</a:t>
              </a:r>
              <a:r>
                <a:rPr lang="en-US" sz="2000" b="1" dirty="0">
                  <a:latin typeface="Lucida Handwriting" panose="03010101010101010101" pitchFamily="66" charset="0"/>
                </a:rPr>
                <a:t>old boys’ network</a:t>
              </a:r>
              <a:r>
                <a:rPr lang="en-US" dirty="0">
                  <a:latin typeface="Lucida Handwriting" panose="03010101010101010101" pitchFamily="66" charset="0"/>
                </a:rPr>
                <a:t>”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H="1">
              <a:off x="5153891" y="4821382"/>
              <a:ext cx="1862051" cy="290945"/>
            </a:xfrm>
            <a:prstGeom prst="straightConnector1">
              <a:avLst/>
            </a:prstGeom>
            <a:ln w="44450">
              <a:solidFill>
                <a:srgbClr val="C00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0545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thesis: culture mat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searchers and agencies create the communities in which rules are applied and enforced</a:t>
            </a:r>
          </a:p>
          <a:p>
            <a:pPr lvl="1"/>
            <a:r>
              <a:rPr lang="en-US" dirty="0"/>
              <a:t>Training and “indoctrination”:</a:t>
            </a:r>
          </a:p>
          <a:p>
            <a:pPr lvl="2"/>
            <a:r>
              <a:rPr lang="en-US" dirty="0"/>
              <a:t>Training of FSRDC researchers (short, decentralized) </a:t>
            </a:r>
            <a:br>
              <a:rPr lang="en-US" dirty="0"/>
            </a:br>
            <a:r>
              <a:rPr lang="en-US" dirty="0"/>
              <a:t>  vs. </a:t>
            </a:r>
            <a:r>
              <a:rPr lang="en-US" dirty="0" err="1"/>
              <a:t>FedStat</a:t>
            </a:r>
            <a:r>
              <a:rPr lang="en-US" dirty="0"/>
              <a:t> employees (≥1 day on-site)</a:t>
            </a:r>
          </a:p>
          <a:p>
            <a:pPr lvl="2"/>
            <a:r>
              <a:rPr lang="en-US" dirty="0"/>
              <a:t>1 full day on-site (in Paris) training for French researchers </a:t>
            </a:r>
          </a:p>
          <a:p>
            <a:pPr lvl="1"/>
            <a:r>
              <a:rPr lang="en-US" dirty="0"/>
              <a:t>Common forums: </a:t>
            </a:r>
          </a:p>
          <a:p>
            <a:pPr lvl="2"/>
            <a:r>
              <a:rPr lang="en-US" dirty="0"/>
              <a:t>Conferences: Canadian, US (FSRDC, NCHS) yearly RDC conferences</a:t>
            </a:r>
          </a:p>
          <a:p>
            <a:pPr lvl="2"/>
            <a:r>
              <a:rPr lang="en-US" dirty="0"/>
              <a:t>Discussion, local groups: users of FSRDC share a common physical space</a:t>
            </a:r>
          </a:p>
          <a:p>
            <a:r>
              <a:rPr lang="en-US" dirty="0"/>
              <a:t>More or less tight binding of researchers into a community is important</a:t>
            </a:r>
          </a:p>
        </p:txBody>
      </p:sp>
    </p:spTree>
    <p:extLst>
      <p:ext uri="{BB962C8B-B14F-4D97-AF65-F5344CB8AC3E}">
        <p14:creationId xmlns:p14="http://schemas.microsoft.com/office/powerpoint/2010/main" val="30899080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content, method, and frequ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281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 too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s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09724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enclave = centraliz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229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10022" y="1825625"/>
            <a:ext cx="1866900" cy="1847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rns about centralized compute infra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356542" cy="4351338"/>
          </a:xfrm>
        </p:spPr>
        <p:txBody>
          <a:bodyPr/>
          <a:lstStyle/>
          <a:p>
            <a:r>
              <a:rPr lang="en-US" dirty="0"/>
              <a:t>Canada</a:t>
            </a:r>
          </a:p>
          <a:p>
            <a:pPr lvl="1"/>
            <a:r>
              <a:rPr lang="en-US" dirty="0"/>
              <a:t>Wayne Smith upon his resignation as Chief Statistician of Canada: “…this situation [transfer of IT to Shared Services Canada] has already led to a progressive degradation of informatics infrastructure support with significant consequences for our effectiveness, our budget and our program.” </a:t>
            </a:r>
            <a:r>
              <a:rPr lang="en-US" sz="1200" dirty="0"/>
              <a:t>(Ottawa Citizen, Sept. 16, 2016, </a:t>
            </a:r>
            <a:r>
              <a:rPr lang="en-US" sz="1200" dirty="0">
                <a:hlinkClick r:id="rId4"/>
              </a:rPr>
              <a:t>http://ottawacitizen.com/news/local-news/canadas-chief-statistician-quits-statistic-canada</a:t>
            </a:r>
            <a:r>
              <a:rPr lang="en-US" sz="1200" dirty="0"/>
              <a:t> )</a:t>
            </a:r>
            <a:endParaRPr lang="en-US" dirty="0"/>
          </a:p>
          <a:p>
            <a:pPr lvl="1"/>
            <a:r>
              <a:rPr lang="en-US" dirty="0"/>
              <a:t>Continuing concerns amongst the Canadian RDCs about a central government-run IT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4977923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rns about centralized compute infra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Scope</a:t>
            </a:r>
          </a:p>
          <a:p>
            <a:pPr lvl="1"/>
            <a:r>
              <a:rPr lang="en-US" dirty="0"/>
              <a:t>FSRDC infrastructure dwarfed by other federal research investments (e.g. XSEDE) that cannot be utilized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5537469" y="3080550"/>
          <a:ext cx="5816330" cy="22394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45911">
                  <a:extLst>
                    <a:ext uri="{9D8B030D-6E8A-4147-A177-3AD203B41FA5}">
                      <a16:colId xmlns:a16="http://schemas.microsoft.com/office/drawing/2014/main" val="4215788865"/>
                    </a:ext>
                  </a:extLst>
                </a:gridCol>
                <a:gridCol w="853773">
                  <a:extLst>
                    <a:ext uri="{9D8B030D-6E8A-4147-A177-3AD203B41FA5}">
                      <a16:colId xmlns:a16="http://schemas.microsoft.com/office/drawing/2014/main" val="820656775"/>
                    </a:ext>
                  </a:extLst>
                </a:gridCol>
                <a:gridCol w="853773">
                  <a:extLst>
                    <a:ext uri="{9D8B030D-6E8A-4147-A177-3AD203B41FA5}">
                      <a16:colId xmlns:a16="http://schemas.microsoft.com/office/drawing/2014/main" val="980668757"/>
                    </a:ext>
                  </a:extLst>
                </a:gridCol>
                <a:gridCol w="1262873">
                  <a:extLst>
                    <a:ext uri="{9D8B030D-6E8A-4147-A177-3AD203B41FA5}">
                      <a16:colId xmlns:a16="http://schemas.microsoft.com/office/drawing/2014/main" val="1126709545"/>
                    </a:ext>
                  </a:extLst>
                </a:gridCol>
              </a:tblGrid>
              <a:tr h="879145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i="1" u="none" strike="noStrike" dirty="0">
                          <a:effectLst/>
                        </a:rPr>
                        <a:t>Cluster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i="1" u="none" strike="noStrike" dirty="0">
                          <a:effectLst/>
                        </a:rPr>
                        <a:t>Cores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i="1" u="none" strike="noStrike" dirty="0" err="1">
                          <a:effectLst/>
                        </a:rPr>
                        <a:t>Tflops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i="1" u="none" strike="noStrike" dirty="0">
                          <a:effectLst/>
                        </a:rPr>
                        <a:t>As a multiple of FSRDC</a:t>
                      </a:r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04983577"/>
                  </a:ext>
                </a:extLst>
              </a:tr>
              <a:tr h="43957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FSRDC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24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4.3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 1x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70095778"/>
                  </a:ext>
                </a:extLst>
              </a:tr>
              <a:tr h="43957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Wrangler (TACC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230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6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 14x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66061351"/>
                  </a:ext>
                </a:extLst>
              </a:tr>
              <a:tr h="43957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tampede (TACC)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</a:rPr>
                        <a:t>10240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960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</a:rPr>
                        <a:t> 2202x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75341572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47" y="3761597"/>
            <a:ext cx="3962072" cy="266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456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960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Remote</a:t>
            </a:r>
            <a:r>
              <a:rPr lang="en-US" dirty="0"/>
              <a:t> access of some type is the </a:t>
            </a:r>
            <a:r>
              <a:rPr lang="en-US" b="1" dirty="0"/>
              <a:t>standard</a:t>
            </a:r>
            <a:r>
              <a:rPr lang="en-US" dirty="0"/>
              <a:t> practice around the world</a:t>
            </a:r>
          </a:p>
          <a:p>
            <a:r>
              <a:rPr lang="en-US" b="1" dirty="0"/>
              <a:t>Access locations </a:t>
            </a:r>
            <a:r>
              <a:rPr lang="en-US" dirty="0"/>
              <a:t>and ease of releasing results vary substantially</a:t>
            </a:r>
          </a:p>
          <a:p>
            <a:r>
              <a:rPr lang="en-US" dirty="0"/>
              <a:t>Disclosure avoidance process is still </a:t>
            </a:r>
            <a:r>
              <a:rPr lang="en-US" b="1" dirty="0"/>
              <a:t>quite pedestrian </a:t>
            </a:r>
            <a:r>
              <a:rPr lang="en-US" dirty="0"/>
              <a:t>in almost all cases, and DA methods are “</a:t>
            </a:r>
            <a:r>
              <a:rPr lang="en-US" b="1" dirty="0"/>
              <a:t>old-fashioned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434417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concluding though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w to enable a scalable and secure system</a:t>
            </a:r>
          </a:p>
          <a:p>
            <a:pPr lvl="1"/>
            <a:r>
              <a:rPr lang="en-US" dirty="0"/>
              <a:t>Does it require changes in the legal framework?</a:t>
            </a:r>
          </a:p>
          <a:p>
            <a:pPr lvl="1"/>
            <a:r>
              <a:rPr lang="en-US" dirty="0"/>
              <a:t>How to build a culture of responsible and secure data access among researchers?</a:t>
            </a:r>
          </a:p>
          <a:p>
            <a:pPr lvl="1"/>
            <a:r>
              <a:rPr lang="en-US" dirty="0"/>
              <a:t>What kind of devices or access mechanisms do we want to enable?</a:t>
            </a:r>
          </a:p>
          <a:p>
            <a:pPr lvl="1"/>
            <a:r>
              <a:rPr lang="en-US" dirty="0"/>
              <a:t>Who gets to hold the data that researchers actually access?</a:t>
            </a:r>
          </a:p>
        </p:txBody>
      </p:sp>
    </p:spTree>
    <p:extLst>
      <p:ext uri="{BB962C8B-B14F-4D97-AF65-F5344CB8AC3E}">
        <p14:creationId xmlns:p14="http://schemas.microsoft.com/office/powerpoint/2010/main" val="434267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dirty="0"/>
              <a:t>How to provide </a:t>
            </a:r>
            <a:r>
              <a:rPr lang="en-US" sz="4800" b="1" dirty="0"/>
              <a:t>easy and convenient </a:t>
            </a:r>
            <a:r>
              <a:rPr lang="en-US" sz="4400" dirty="0"/>
              <a:t>access to data with </a:t>
            </a:r>
            <a:r>
              <a:rPr lang="en-US" sz="5400" b="1" dirty="0">
                <a:solidFill>
                  <a:schemeClr val="accent6">
                    <a:lumMod val="75000"/>
                  </a:schemeClr>
                </a:solidFill>
              </a:rPr>
              <a:t>more detail </a:t>
            </a:r>
            <a:r>
              <a:rPr lang="en-US" sz="4400" dirty="0"/>
              <a:t>than public-use microdata, </a:t>
            </a:r>
            <a:r>
              <a:rPr lang="en-US" sz="5400" b="1" dirty="0">
                <a:solidFill>
                  <a:srgbClr val="FFC000"/>
                </a:solidFill>
              </a:rPr>
              <a:t>less privacy loss </a:t>
            </a:r>
            <a:r>
              <a:rPr lang="en-US" sz="4400" dirty="0"/>
              <a:t>than direct publication of </a:t>
            </a:r>
            <a:r>
              <a:rPr lang="en-US" sz="4400" dirty="0">
                <a:solidFill>
                  <a:srgbClr val="FF0000"/>
                </a:solidFill>
              </a:rPr>
              <a:t>raw data</a:t>
            </a:r>
            <a:r>
              <a:rPr lang="en-US" sz="4400" dirty="0"/>
              <a:t>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goal of data access</a:t>
            </a:r>
          </a:p>
        </p:txBody>
      </p:sp>
    </p:spTree>
    <p:extLst>
      <p:ext uri="{BB962C8B-B14F-4D97-AF65-F5344CB8AC3E}">
        <p14:creationId xmlns:p14="http://schemas.microsoft.com/office/powerpoint/2010/main" val="275260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742"/>
    </mc:Choice>
    <mc:Fallback xmlns="">
      <p:transition spd="slow" advTm="17742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83709" y="2521527"/>
            <a:ext cx="5135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lars.vilhuber</a:t>
            </a:r>
            <a:r>
              <a:rPr lang="en-US" dirty="0">
                <a:solidFill>
                  <a:schemeClr val="bg1"/>
                </a:solidFill>
              </a:rPr>
              <a:t>@cornell</a:t>
            </a:r>
            <a:r>
              <a:rPr lang="en-US">
                <a:solidFill>
                  <a:schemeClr val="bg1"/>
                </a:solidFill>
              </a:rPr>
              <a:t>.edu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 descr="cu screen b31b1b.psd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5447768" y="5408926"/>
            <a:ext cx="1405614" cy="1287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8481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ementary slid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7394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geographic bia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7361" y="1870869"/>
            <a:ext cx="7500937" cy="4260849"/>
            <a:chOff x="2201864" y="1196976"/>
            <a:chExt cx="7500937" cy="4260849"/>
          </a:xfrm>
        </p:grpSpPr>
        <p:sp>
          <p:nvSpPr>
            <p:cNvPr id="7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2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2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3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9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0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1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0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0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3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6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9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7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8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9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3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0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28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4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6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7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8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0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01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2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3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4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5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6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7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9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0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1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2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3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4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5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16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7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8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9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2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5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7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5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88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9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0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1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2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4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5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6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4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5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6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7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2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5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0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2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3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4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5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6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7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8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9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0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1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2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3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4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5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6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7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8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9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0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1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2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3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6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1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7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8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9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2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4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6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2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5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6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5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9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0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5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80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398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0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1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2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3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4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5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6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7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8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9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0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2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3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5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7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9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1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5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5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6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7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6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8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9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7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8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8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700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346"/>
    </mc:Choice>
    <mc:Fallback xmlns="">
      <p:transition spd="slow" advTm="13346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party data custodian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303133" y="5108254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 is the data?</a:t>
            </a:r>
          </a:p>
        </p:txBody>
      </p:sp>
      <p:cxnSp>
        <p:nvCxnSpPr>
          <p:cNvPr id="17" name="Straight Arrow Connector 16"/>
          <p:cNvCxnSpPr>
            <a:cxnSpLocks/>
          </p:cNvCxnSpPr>
          <p:nvPr/>
        </p:nvCxnSpPr>
        <p:spPr>
          <a:xfrm flipH="1">
            <a:off x="1852768" y="5039520"/>
            <a:ext cx="4228437" cy="295766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578353" y="874985"/>
            <a:ext cx="4916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“Virtual Data Enclave”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69" y="4682359"/>
            <a:ext cx="1541377" cy="18754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043953" y="5936876"/>
            <a:ext cx="2782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provid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8692" y="2424943"/>
            <a:ext cx="1751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usted 3</a:t>
            </a:r>
            <a:r>
              <a:rPr lang="en-US" baseline="30000" dirty="0"/>
              <a:t>rd</a:t>
            </a:r>
            <a:r>
              <a:rPr lang="en-US" dirty="0"/>
              <a:t> party data center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93" y="4904333"/>
            <a:ext cx="1468975" cy="1157699"/>
          </a:xfrm>
          <a:prstGeom prst="rect">
            <a:avLst/>
          </a:prstGeom>
        </p:spPr>
      </p:pic>
      <p:cxnSp>
        <p:nvCxnSpPr>
          <p:cNvPr id="22" name="Straight Arrow Connector 21"/>
          <p:cNvCxnSpPr>
            <a:cxnSpLocks/>
          </p:cNvCxnSpPr>
          <p:nvPr/>
        </p:nvCxnSpPr>
        <p:spPr>
          <a:xfrm flipH="1" flipV="1">
            <a:off x="4314825" y="4200525"/>
            <a:ext cx="1766380" cy="838994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rrow: Left 7"/>
          <p:cNvSpPr/>
          <p:nvPr/>
        </p:nvSpPr>
        <p:spPr>
          <a:xfrm>
            <a:off x="6695444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sp>
        <p:nvSpPr>
          <p:cNvPr id="26" name="Arrow: Left 6"/>
          <p:cNvSpPr/>
          <p:nvPr/>
        </p:nvSpPr>
        <p:spPr>
          <a:xfrm>
            <a:off x="4502181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930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70833E-6 2.22222E-6 L -0.00273 -0.15834 C -0.00429 -0.19283 0.00378 -0.22477 0.01784 -0.24722 C 0.03386 -0.27292 0.05209 -0.2831 0.07123 -0.27685 L 0.15977 -0.25579 " pathEditMode="relative" rAng="19080000" ptsTypes="AAAAA">
                                      <p:cBhvr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22" y="-18819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750"/>
                            </p:stCondLst>
                            <p:childTnLst>
                              <p:par>
                                <p:cTn id="30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25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  <p:bldP spid="24" grpId="0" animBg="1"/>
      <p:bldP spid="26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rical backgroun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0222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to Census Bureau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ing in the 1960s and 70s, increased use of public-use microdata samples and surveys</a:t>
            </a:r>
          </a:p>
          <a:p>
            <a:r>
              <a:rPr lang="en-US" dirty="0"/>
              <a:t>Researcher access at Census Bureau headquarters in the 1970s</a:t>
            </a:r>
          </a:p>
          <a:p>
            <a:r>
              <a:rPr lang="en-US" dirty="0"/>
              <a:t>First RDC at Boston in the 1994</a:t>
            </a:r>
          </a:p>
          <a:p>
            <a:r>
              <a:rPr lang="en-US" dirty="0"/>
              <a:t>A small number of RDCs in the 1990s</a:t>
            </a:r>
          </a:p>
          <a:p>
            <a:r>
              <a:rPr lang="en-US" dirty="0"/>
              <a:t>Thin clients in the 2000s</a:t>
            </a:r>
          </a:p>
          <a:p>
            <a:r>
              <a:rPr lang="en-US" dirty="0"/>
              <a:t>2016: 24 RDCs</a:t>
            </a:r>
          </a:p>
          <a:p>
            <a:pPr lvl="1"/>
            <a:r>
              <a:rPr lang="en-US" dirty="0"/>
              <a:t>Expansion to include other federal data provider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872" y="4830203"/>
            <a:ext cx="1784850" cy="1007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884" y="4001294"/>
            <a:ext cx="2790825" cy="208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727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other </a:t>
            </a:r>
            <a:r>
              <a:rPr lang="en-US" dirty="0" err="1"/>
              <a:t>FedSta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LS</a:t>
            </a:r>
          </a:p>
          <a:p>
            <a:pPr lvl="1"/>
            <a:r>
              <a:rPr lang="en-US" dirty="0"/>
              <a:t>Longtime only through HQ RDC</a:t>
            </a:r>
          </a:p>
          <a:p>
            <a:pPr lvl="1"/>
            <a:r>
              <a:rPr lang="en-US" dirty="0"/>
              <a:t>Now available through FSRDC</a:t>
            </a:r>
          </a:p>
          <a:p>
            <a:r>
              <a:rPr lang="en-US" dirty="0"/>
              <a:t>NSF, Department of Agriculture</a:t>
            </a:r>
          </a:p>
          <a:p>
            <a:pPr lvl="1"/>
            <a:r>
              <a:rPr lang="en-US" dirty="0"/>
              <a:t>Available through NORC</a:t>
            </a:r>
          </a:p>
          <a:p>
            <a:r>
              <a:rPr lang="en-US" dirty="0"/>
              <a:t>NCHS</a:t>
            </a:r>
          </a:p>
          <a:p>
            <a:pPr lvl="1"/>
            <a:r>
              <a:rPr lang="en-US" dirty="0"/>
              <a:t>Multiple access mechanisms, including HQ RDC, FSRDC, Remote processing system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5292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untries: German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titute for Employment Research (IAB), Germany</a:t>
            </a:r>
          </a:p>
          <a:p>
            <a:pPr lvl="1"/>
            <a:r>
              <a:rPr lang="en-US" i="1" dirty="0"/>
              <a:t>Commission to improve the informational infrastructure between the scientific community and official statistics</a:t>
            </a:r>
            <a:r>
              <a:rPr lang="en-US" dirty="0"/>
              <a:t> </a:t>
            </a:r>
          </a:p>
          <a:p>
            <a:pPr marL="457200" lvl="1" indent="0">
              <a:buNone/>
            </a:pPr>
            <a:r>
              <a:rPr lang="en-US" dirty="0"/>
              <a:t>   recommended creation of RDCs by producers of microdata (2001)</a:t>
            </a:r>
          </a:p>
          <a:p>
            <a:pPr lvl="1"/>
            <a:r>
              <a:rPr lang="en-US" dirty="0"/>
              <a:t>RDC created in 2004 for “weakly anonymous” data</a:t>
            </a:r>
          </a:p>
          <a:p>
            <a:pPr lvl="1"/>
            <a:r>
              <a:rPr lang="en-US" dirty="0"/>
              <a:t>Scientific use files (factually anonymous data) available under licensing agreements to university data enclaves</a:t>
            </a:r>
          </a:p>
          <a:p>
            <a:pPr lvl="1"/>
            <a:r>
              <a:rPr lang="en-US" dirty="0"/>
              <a:t>2011 RDC created at University of Michigan (with NSF funding)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66773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oday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540327" y="4946073"/>
            <a:ext cx="7782038" cy="386706"/>
            <a:chOff x="540327" y="4946073"/>
            <a:chExt cx="7782038" cy="386706"/>
          </a:xfrm>
        </p:grpSpPr>
        <p:sp>
          <p:nvSpPr>
            <p:cNvPr id="4" name="TextBox 3"/>
            <p:cNvSpPr txBox="1"/>
            <p:nvPr/>
          </p:nvSpPr>
          <p:spPr>
            <a:xfrm>
              <a:off x="5403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02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5215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42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188527" y="4946073"/>
              <a:ext cx="1309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960</a:t>
              </a:r>
            </a:p>
          </p:txBody>
        </p:sp>
        <p:cxnSp>
          <p:nvCxnSpPr>
            <p:cNvPr id="9" name="Straight Connector 8"/>
            <p:cNvCxnSpPr>
              <a:cxnSpLocks/>
              <a:endCxn id="5" idx="2"/>
            </p:cNvCxnSpPr>
            <p:nvPr/>
          </p:nvCxnSpPr>
          <p:spPr>
            <a:xfrm flipV="1">
              <a:off x="540327" y="5315405"/>
              <a:ext cx="2635828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>
              <a:cxnSpLocks/>
            </p:cNvCxnSpPr>
            <p:nvPr/>
          </p:nvCxnSpPr>
          <p:spPr>
            <a:xfrm>
              <a:off x="2521527" y="5315405"/>
              <a:ext cx="3321627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>
              <a:cxnSpLocks/>
              <a:endCxn id="7" idx="2"/>
            </p:cNvCxnSpPr>
            <p:nvPr/>
          </p:nvCxnSpPr>
          <p:spPr>
            <a:xfrm flipV="1">
              <a:off x="5000737" y="5315405"/>
              <a:ext cx="3321628" cy="17374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>
              <a:cxnSpLocks/>
            </p:cNvCxnSpPr>
            <p:nvPr/>
          </p:nvCxnSpPr>
          <p:spPr>
            <a:xfrm>
              <a:off x="605249" y="5332779"/>
              <a:ext cx="505412" cy="0"/>
            </a:xfrm>
            <a:prstGeom prst="line">
              <a:avLst/>
            </a:prstGeom>
            <a:ln w="63500">
              <a:solidFill>
                <a:srgbClr val="B31B1B">
                  <a:alpha val="5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0327" y="5332779"/>
            <a:ext cx="7127410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88527" y="5430276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43154" y="5430274"/>
            <a:ext cx="654628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200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43849" y="5430273"/>
            <a:ext cx="654628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1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923257" y="5442563"/>
            <a:ext cx="1309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5 RDCs in 3 countri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39793" y="2642842"/>
            <a:ext cx="14825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KVI)</a:t>
            </a:r>
          </a:p>
        </p:txBody>
      </p:sp>
    </p:spTree>
    <p:extLst>
      <p:ext uri="{BB962C8B-B14F-4D97-AF65-F5344CB8AC3E}">
        <p14:creationId xmlns:p14="http://schemas.microsoft.com/office/powerpoint/2010/main" val="58818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85185E-6 L -0.6138 -0.00671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690" y="-34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7" grpId="0"/>
      <p:bldP spid="18" grpId="0"/>
      <p:bldP spid="19" grpId="0"/>
      <p:bldP spid="20" grpId="0"/>
      <p:bldP spid="21" grpId="0"/>
      <p:bldP spid="1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untries: Fr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entre </a:t>
            </a:r>
            <a:r>
              <a:rPr lang="en-US" dirty="0" err="1"/>
              <a:t>d’accès</a:t>
            </a:r>
            <a:r>
              <a:rPr lang="en-US" dirty="0"/>
              <a:t> </a:t>
            </a:r>
            <a:r>
              <a:rPr lang="en-US" dirty="0" err="1"/>
              <a:t>securisé</a:t>
            </a:r>
            <a:r>
              <a:rPr lang="en-US" dirty="0"/>
              <a:t> distant (CASD, France)</a:t>
            </a:r>
          </a:p>
          <a:p>
            <a:pPr lvl="1"/>
            <a:r>
              <a:rPr lang="en-US" dirty="0"/>
              <a:t>Note: within same agency that enabled AKM (1999)</a:t>
            </a:r>
          </a:p>
          <a:p>
            <a:pPr lvl="1"/>
            <a:r>
              <a:rPr lang="en-US" dirty="0"/>
              <a:t>INSEE recommended implementing a secure center for accessing data (2007)</a:t>
            </a:r>
          </a:p>
          <a:p>
            <a:pPr lvl="1"/>
            <a:r>
              <a:rPr lang="en-US" dirty="0"/>
              <a:t>2008 modification to Statistics Law made possible pilot </a:t>
            </a:r>
            <a:r>
              <a:rPr lang="en-US" dirty="0" err="1"/>
              <a:t>infracstructure</a:t>
            </a:r>
            <a:endParaRPr lang="en-US" dirty="0"/>
          </a:p>
          <a:p>
            <a:pPr lvl="1"/>
            <a:r>
              <a:rPr lang="en-US" dirty="0"/>
              <a:t>Pilot infrastructure becomes permanent in 2009 </a:t>
            </a:r>
          </a:p>
          <a:p>
            <a:pPr lvl="1"/>
            <a:r>
              <a:rPr lang="en-US" dirty="0"/>
              <a:t>Expansion with per-project cost (invoicing) in 2012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923257" y="4946073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oday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7667737" y="5324092"/>
            <a:ext cx="3564775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0327" y="5332779"/>
            <a:ext cx="7127410" cy="0"/>
          </a:xfrm>
          <a:prstGeom prst="line">
            <a:avLst/>
          </a:prstGeom>
          <a:ln w="63500">
            <a:solidFill>
              <a:srgbClr val="B31B1B">
                <a:alpha val="57000"/>
              </a:srgb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340423" y="5421534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7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8813" y="4866006"/>
            <a:ext cx="1309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8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667736" y="4895979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08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65609" y="5429917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2009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119693" y="4896613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201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30594" y="6295433"/>
            <a:ext cx="41853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ource: presentation to the CASD Scientific Committee in 201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5864" y="4392891"/>
            <a:ext cx="3449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Loi</a:t>
            </a:r>
            <a:r>
              <a:rPr lang="en-US" dirty="0"/>
              <a:t> </a:t>
            </a:r>
            <a:r>
              <a:rPr lang="en-US" dirty="0" err="1"/>
              <a:t>Informatique</a:t>
            </a:r>
            <a:r>
              <a:rPr lang="en-US" dirty="0"/>
              <a:t> et </a:t>
            </a:r>
            <a:r>
              <a:rPr lang="en-US" dirty="0" err="1"/>
              <a:t>Libertés</a:t>
            </a:r>
            <a:r>
              <a:rPr lang="en-US" dirty="0"/>
              <a:t> (1978)</a:t>
            </a:r>
          </a:p>
        </p:txBody>
      </p:sp>
      <p:cxnSp>
        <p:nvCxnSpPr>
          <p:cNvPr id="6" name="Straight Arrow Connector 5"/>
          <p:cNvCxnSpPr>
            <a:stCxn id="4" idx="1"/>
          </p:cNvCxnSpPr>
          <p:nvPr/>
        </p:nvCxnSpPr>
        <p:spPr>
          <a:xfrm flipH="1">
            <a:off x="188260" y="4577557"/>
            <a:ext cx="537604" cy="288449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061070" y="4823161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995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450588" y="5467717"/>
            <a:ext cx="199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working group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9504" y="2376390"/>
            <a:ext cx="3047506" cy="2029500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TextBox 24"/>
          <p:cNvSpPr txBox="1"/>
          <p:nvPr/>
        </p:nvSpPr>
        <p:spPr>
          <a:xfrm>
            <a:off x="9923257" y="5442563"/>
            <a:ext cx="1309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371 APs in 8 countri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77066" y="5400249"/>
            <a:ext cx="65462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1990</a:t>
            </a:r>
          </a:p>
        </p:txBody>
      </p:sp>
    </p:spTree>
    <p:extLst>
      <p:ext uri="{BB962C8B-B14F-4D97-AF65-F5344CB8AC3E}">
        <p14:creationId xmlns:p14="http://schemas.microsoft.com/office/powerpoint/2010/main" val="2720429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18" grpId="0" uiExpand="1"/>
      <p:bldP spid="21" grpId="0" uiExpand="1"/>
      <p:bldP spid="22" grpId="0"/>
      <p:bldP spid="23" grpId="0"/>
      <p:bldP spid="15" grpId="0"/>
      <p:bldP spid="4" grpId="0"/>
      <p:bldP spid="17" grpId="0"/>
      <p:bldP spid="19" grpId="0"/>
      <p:bldP spid="25" grpId="0"/>
      <p:bldP spid="26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s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45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7147" y="2755090"/>
            <a:ext cx="3053433" cy="2033309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  <a:softEdge rad="1270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use dat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58070" y="5129056"/>
            <a:ext cx="2144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ata provider/ custodian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550" y="2960447"/>
            <a:ext cx="1468975" cy="11576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873" y="3287657"/>
            <a:ext cx="1233621" cy="115711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8046876" y="5129056"/>
            <a:ext cx="2144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ata user/ research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304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540"/>
    </mc:Choice>
    <mc:Fallback xmlns="">
      <p:transition spd="slow" advTm="2354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29167E-6 0.07824 L 0.1181 -0.19352 C 0.14258 -0.25509 0.17956 -0.2875 0.21836 -0.2875 C 0.26237 -0.2875 0.29792 -0.25509 0.3224 -0.19352 L 0.44063 0.07824 " pathEditMode="relative" rAng="0" ptsTypes="AAAAA">
                                      <p:cBhvr>
                                        <p:cTn id="19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031" y="-18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 spaceship thing…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400" y="1834166"/>
            <a:ext cx="3947886" cy="4263717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720318"/>
          </a:xfrm>
        </p:spPr>
        <p:txBody>
          <a:bodyPr/>
          <a:lstStyle/>
          <a:p>
            <a:r>
              <a:rPr lang="en-US" dirty="0"/>
              <a:t>Pre-fabricated secure room</a:t>
            </a:r>
          </a:p>
          <a:p>
            <a:r>
              <a:rPr lang="en-US" dirty="0"/>
              <a:t>First one installed in 2015 at University of St. Andrews (Scotland/UK)</a:t>
            </a:r>
          </a:p>
          <a:p>
            <a:r>
              <a:rPr lang="en-US" dirty="0"/>
              <a:t>2.3m x 1.8m</a:t>
            </a:r>
          </a:p>
          <a:p>
            <a:r>
              <a:rPr lang="en-US" dirty="0"/>
              <a:t>Electronic locking, biometric recognition, CCTV, “Smart Glass”</a:t>
            </a:r>
          </a:p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£ 25,000 ~ $30,000 </a:t>
            </a:r>
            <a:r>
              <a:rPr lang="en-US" dirty="0"/>
              <a:t>incl. installation</a:t>
            </a:r>
          </a:p>
          <a:p>
            <a:r>
              <a:rPr lang="en-US" dirty="0"/>
              <a:t>Part of UK ADRN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519886" y="3137970"/>
            <a:ext cx="15675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[For now: EU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31200" y="3642239"/>
            <a:ext cx="2162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7’6” x 5’10”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02629" y="6429829"/>
            <a:ext cx="6981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http://libanswers.st-andrews.ac.uk/faq/93548</a:t>
            </a:r>
          </a:p>
        </p:txBody>
      </p:sp>
    </p:spTree>
    <p:extLst>
      <p:ext uri="{BB962C8B-B14F-4D97-AF65-F5344CB8AC3E}">
        <p14:creationId xmlns:p14="http://schemas.microsoft.com/office/powerpoint/2010/main" val="1320552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xit" presetSubtype="2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/>
      <p:bldP spid="7" grpId="1"/>
      <p:bldP spid="8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 cli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With the notable exception of the Canadian RDCs (for now), </a:t>
            </a:r>
            <a:r>
              <a:rPr lang="en-US" sz="4000" b="1" dirty="0"/>
              <a:t>thin clients</a:t>
            </a:r>
            <a:r>
              <a:rPr lang="en-US" dirty="0"/>
              <a:t> are the preferred method of access</a:t>
            </a:r>
          </a:p>
          <a:p>
            <a:pPr lvl="1"/>
            <a:r>
              <a:rPr lang="en-US" dirty="0"/>
              <a:t>Surrounded by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walls</a:t>
            </a:r>
            <a:r>
              <a:rPr lang="en-US" dirty="0"/>
              <a:t> = RDC [FSRDC in US, Germany, others]</a:t>
            </a:r>
          </a:p>
          <a:p>
            <a:pPr lvl="1"/>
            <a:r>
              <a:rPr lang="en-US" dirty="0"/>
              <a:t>Embedded in a managed device = “thin client” [above, plus France]</a:t>
            </a:r>
          </a:p>
          <a:p>
            <a:pPr lvl="1"/>
            <a:r>
              <a:rPr lang="en-US" dirty="0"/>
              <a:t>Software with a managed access token = “remote desktop” or “VDI” [some US agencies; DK, Finland]</a:t>
            </a:r>
          </a:p>
          <a:p>
            <a:r>
              <a:rPr lang="en-US" dirty="0"/>
              <a:t>Additional controls may be</a:t>
            </a:r>
          </a:p>
          <a:p>
            <a:pPr lvl="1"/>
            <a:r>
              <a:rPr lang="en-US" dirty="0"/>
              <a:t>IP address control [many]</a:t>
            </a:r>
          </a:p>
          <a:p>
            <a:pPr lvl="1"/>
            <a:r>
              <a:rPr lang="en-US" dirty="0"/>
              <a:t>Biometric authentication [France]</a:t>
            </a:r>
          </a:p>
          <a:p>
            <a:pPr lvl="1"/>
            <a:r>
              <a:rPr lang="en-US" dirty="0"/>
              <a:t>Smart card [France, US]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437" y="3916234"/>
            <a:ext cx="3409355" cy="147447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232" y="3916234"/>
            <a:ext cx="2387680" cy="2387680"/>
          </a:xfrm>
          <a:prstGeom prst="rect">
            <a:avLst/>
          </a:prstGeom>
          <a:effectLst>
            <a:softEdge rad="1016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286" y="3918209"/>
            <a:ext cx="4497572" cy="2393691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8" name="TextBox 7"/>
          <p:cNvSpPr txBox="1"/>
          <p:nvPr/>
        </p:nvSpPr>
        <p:spPr>
          <a:xfrm>
            <a:off x="4952030" y="4653470"/>
            <a:ext cx="193786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70.48.127.42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868" y="4323521"/>
            <a:ext cx="1678287" cy="1916917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529" y="4323521"/>
            <a:ext cx="2438740" cy="2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73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  <p:bldP spid="8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 box th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Custom remote access device used at CASD</a:t>
            </a:r>
          </a:p>
          <a:p>
            <a:r>
              <a:rPr lang="en-US" dirty="0"/>
              <a:t>Encrypted storage, biometric smartcard reader, pre-configured VPN</a:t>
            </a:r>
          </a:p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€35.00 </a:t>
            </a:r>
            <a:r>
              <a:rPr lang="en-US" dirty="0"/>
              <a:t>/ month, first user free, additional users €37.00 - €20.00 / month (decreasing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622423"/>
            <a:ext cx="5181600" cy="2757742"/>
          </a:xfrm>
          <a:prstGeom prst="rect">
            <a:avLst/>
          </a:prstGeom>
          <a:effectLst>
            <a:softEdge rad="203200"/>
          </a:effectLst>
        </p:spPr>
      </p:pic>
    </p:spTree>
    <p:extLst>
      <p:ext uri="{BB962C8B-B14F-4D97-AF65-F5344CB8AC3E}">
        <p14:creationId xmlns:p14="http://schemas.microsoft.com/office/powerpoint/2010/main" val="2870569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ability (CAS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… added in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2016 alone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71 access points</a:t>
            </a:r>
          </a:p>
          <a:p>
            <a:r>
              <a:rPr lang="en-US" dirty="0"/>
              <a:t>232 users</a:t>
            </a:r>
          </a:p>
          <a:p>
            <a:r>
              <a:rPr lang="en-US" dirty="0"/>
              <a:t>62 project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Total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371 access points</a:t>
            </a:r>
          </a:p>
          <a:p>
            <a:r>
              <a:rPr lang="en-US" dirty="0"/>
              <a:t>1402 users</a:t>
            </a:r>
          </a:p>
          <a:p>
            <a:r>
              <a:rPr lang="en-US" dirty="0"/>
              <a:t>472 projec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632" y="4110360"/>
            <a:ext cx="3469800" cy="231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540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5" grpId="0" uiExpand="1" build="p"/>
      <p:bldP spid="7" grpId="0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matrix of access control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6697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682547"/>
              </p:ext>
            </p:extLst>
          </p:nvPr>
        </p:nvGraphicFramePr>
        <p:xfrm>
          <a:off x="1264920" y="1554226"/>
          <a:ext cx="9289322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8501109"/>
              </p:ext>
            </p:extLst>
          </p:nvPr>
        </p:nvGraphicFramePr>
        <p:xfrm>
          <a:off x="1264920" y="1569593"/>
          <a:ext cx="9289322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572487"/>
              </p:ext>
            </p:extLst>
          </p:nvPr>
        </p:nvGraphicFramePr>
        <p:xfrm>
          <a:off x="1264920" y="1569593"/>
          <a:ext cx="9289322" cy="448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IAB lapto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8890365"/>
              </p:ext>
            </p:extLst>
          </p:nvPr>
        </p:nvGraphicFramePr>
        <p:xfrm>
          <a:off x="1264920" y="1569593"/>
          <a:ext cx="9289322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nsus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trusted pers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Web applic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software, whitelist commands)</a:t>
                      </a:r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IAB lapto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Extra Full (custom-built hardware)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university office, EU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(choice of soft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  <p:graphicFrame>
        <p:nvGraphicFramePr>
          <p:cNvPr id="8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1890981"/>
              </p:ext>
            </p:extLst>
          </p:nvPr>
        </p:nvGraphicFramePr>
        <p:xfrm>
          <a:off x="1264920" y="1569593"/>
          <a:ext cx="9289322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0920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confidential data</a:t>
            </a:r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94487"/>
              </p:ext>
            </p:extLst>
          </p:nvPr>
        </p:nvGraphicFramePr>
        <p:xfrm>
          <a:off x="1399032" y="1496441"/>
          <a:ext cx="9289322" cy="469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9977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155739">
                  <a:extLst>
                    <a:ext uri="{9D8B030D-6E8A-4147-A177-3AD203B41FA5}">
                      <a16:colId xmlns:a16="http://schemas.microsoft.com/office/drawing/2014/main" val="4322959"/>
                    </a:ext>
                  </a:extLst>
                </a:gridCol>
                <a:gridCol w="1310692">
                  <a:extLst>
                    <a:ext uri="{9D8B030D-6E8A-4147-A177-3AD203B41FA5}">
                      <a16:colId xmlns:a16="http://schemas.microsoft.com/office/drawing/2014/main" val="1204206316"/>
                    </a:ext>
                  </a:extLst>
                </a:gridCol>
                <a:gridCol w="1679037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77973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804147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oo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choice of software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377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Denmark</a:t>
                      </a:r>
                      <a:br>
                        <a:rPr lang="en-US" dirty="0"/>
                      </a:br>
                      <a:r>
                        <a:rPr lang="en-US" dirty="0"/>
                        <a:t>(typical EU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VDI) -</a:t>
                      </a: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me</a:t>
                      </a:r>
                      <a: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746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DC Can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en-US" sz="1200" b="1" dirty="0" err="1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emog</a:t>
                      </a: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. only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host institution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host institution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(badge acc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ome </a:t>
                      </a:r>
                      <a:b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(choice of software)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D7D31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17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tat.Canada</a:t>
                      </a:r>
                      <a:br>
                        <a:rPr lang="en-US" dirty="0"/>
                      </a:br>
                      <a:r>
                        <a:rPr lang="en-US" dirty="0"/>
                        <a:t>(typical of HQ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</a:t>
                      </a:r>
                      <a:br>
                        <a:rPr lang="en-US" b="1" dirty="0">
                          <a:solidFill>
                            <a:srgbClr val="FF0000"/>
                          </a:solidFill>
                        </a:rPr>
                      </a:br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(incl. busine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me </a:t>
                      </a:r>
                      <a:br>
                        <a:rPr lang="en-US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(choice of software)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DC Canada</a:t>
                      </a:r>
                      <a:br>
                        <a:rPr lang="en-US" dirty="0"/>
                      </a:br>
                      <a:r>
                        <a:rPr lang="en-US" dirty="0"/>
                        <a:t>(thin client)</a:t>
                      </a: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plann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2472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8665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354606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tabul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436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/>
          <p:cNvSpPr/>
          <p:nvPr/>
        </p:nvSpPr>
        <p:spPr>
          <a:xfrm>
            <a:off x="5943600" y="1521229"/>
            <a:ext cx="2679846" cy="3832167"/>
          </a:xfrm>
          <a:custGeom>
            <a:avLst/>
            <a:gdLst>
              <a:gd name="connsiteX0" fmla="*/ 0 w 2791340"/>
              <a:gd name="connsiteY0" fmla="*/ 0 h 3790603"/>
              <a:gd name="connsiteX1" fmla="*/ 2568633 w 2791340"/>
              <a:gd name="connsiteY1" fmla="*/ 1288472 h 3790603"/>
              <a:gd name="connsiteX2" fmla="*/ 2668385 w 2791340"/>
              <a:gd name="connsiteY2" fmla="*/ 3790603 h 379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91340" h="3790603">
                <a:moveTo>
                  <a:pt x="0" y="0"/>
                </a:moveTo>
                <a:cubicBezTo>
                  <a:pt x="1061951" y="328352"/>
                  <a:pt x="2123902" y="656705"/>
                  <a:pt x="2568633" y="1288472"/>
                </a:cubicBezTo>
                <a:cubicBezTo>
                  <a:pt x="3013364" y="1920239"/>
                  <a:pt x="2651760" y="3610494"/>
                  <a:pt x="2668385" y="3790603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7689906" y="1496290"/>
            <a:ext cx="1138844" cy="3798917"/>
          </a:xfrm>
          <a:custGeom>
            <a:avLst/>
            <a:gdLst>
              <a:gd name="connsiteX0" fmla="*/ 0 w 1138844"/>
              <a:gd name="connsiteY0" fmla="*/ 0 h 3798917"/>
              <a:gd name="connsiteX1" fmla="*/ 864524 w 1138844"/>
              <a:gd name="connsiteY1" fmla="*/ 1205346 h 3798917"/>
              <a:gd name="connsiteX2" fmla="*/ 1138844 w 1138844"/>
              <a:gd name="connsiteY2" fmla="*/ 3798917 h 379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8844" h="3798917">
                <a:moveTo>
                  <a:pt x="0" y="0"/>
                </a:moveTo>
                <a:cubicBezTo>
                  <a:pt x="337358" y="286096"/>
                  <a:pt x="674717" y="572193"/>
                  <a:pt x="864524" y="1205346"/>
                </a:cubicBezTo>
                <a:cubicBezTo>
                  <a:pt x="1054331" y="1838499"/>
                  <a:pt x="1070957" y="3427615"/>
                  <a:pt x="1138844" y="3798917"/>
                </a:cubicBezTo>
              </a:path>
            </a:pathLst>
          </a:cu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3815542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893810" y="1521230"/>
            <a:ext cx="2404379" cy="3773977"/>
          </a:xfrm>
          <a:prstGeom prst="line">
            <a:avLst/>
          </a:prstGeom>
          <a:ln w="41275">
            <a:solidFill>
              <a:srgbClr val="7030A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882764" y="1837112"/>
            <a:ext cx="2976105" cy="525201"/>
            <a:chOff x="2325707" y="3228336"/>
            <a:chExt cx="2252092" cy="369332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325707" y="3259824"/>
              <a:ext cx="326752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48999" y="3228336"/>
              <a:ext cx="1828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ulat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ethods: remote tabulation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42950" y="1521230"/>
            <a:ext cx="8492490" cy="4603774"/>
            <a:chOff x="742950" y="2968488"/>
            <a:chExt cx="6426476" cy="3237467"/>
          </a:xfrm>
        </p:grpSpPr>
        <p:cxnSp>
          <p:nvCxnSpPr>
            <p:cNvPr id="4" name="Straight Arrow Connector 3"/>
            <p:cNvCxnSpPr/>
            <p:nvPr/>
          </p:nvCxnSpPr>
          <p:spPr>
            <a:xfrm flipV="1">
              <a:off x="2186609" y="2968488"/>
              <a:ext cx="33131" cy="2782955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2186609" y="5751443"/>
              <a:ext cx="4982817" cy="1"/>
            </a:xfrm>
            <a:prstGeom prst="straightConnector1">
              <a:avLst/>
            </a:prstGeom>
            <a:ln w="63500"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002432" y="5751442"/>
              <a:ext cx="1770153" cy="454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  <a:p>
              <a:r>
                <a:rPr lang="en-US" dirty="0"/>
                <a:t>← Loss of detail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2950" y="4175300"/>
              <a:ext cx="1619250" cy="259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ase of us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623447" y="2433885"/>
            <a:ext cx="2730353" cy="804010"/>
            <a:chOff x="6582284" y="3720418"/>
            <a:chExt cx="2066125" cy="565396"/>
          </a:xfrm>
        </p:grpSpPr>
        <p:sp>
          <p:nvSpPr>
            <p:cNvPr id="28" name="Rectangle 27"/>
            <p:cNvSpPr/>
            <p:nvPr/>
          </p:nvSpPr>
          <p:spPr>
            <a:xfrm>
              <a:off x="6582284" y="3720418"/>
              <a:ext cx="362968" cy="56539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5252" y="3818450"/>
              <a:ext cx="17031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aw microda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836465" y="1859358"/>
            <a:ext cx="2789797" cy="525201"/>
            <a:chOff x="2279408" y="3250582"/>
            <a:chExt cx="2111108" cy="369332"/>
          </a:xfrm>
        </p:grpSpPr>
        <p:sp>
          <p:nvSpPr>
            <p:cNvPr id="38" name="Rectangle 37"/>
            <p:cNvSpPr/>
            <p:nvPr/>
          </p:nvSpPr>
          <p:spPr>
            <a:xfrm>
              <a:off x="2279408" y="3250582"/>
              <a:ext cx="326752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2325707" y="3254111"/>
              <a:ext cx="2064809" cy="31778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abulations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882764" y="2365497"/>
            <a:ext cx="4204479" cy="898208"/>
            <a:chOff x="2325707" y="3654176"/>
            <a:chExt cx="3181633" cy="631638"/>
          </a:xfrm>
        </p:grpSpPr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3155030" y="3720418"/>
              <a:ext cx="2352310" cy="5653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cap="rnd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ublic-use microdata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325707" y="3654176"/>
              <a:ext cx="598977" cy="373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836464" y="1668039"/>
            <a:ext cx="7903579" cy="202281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135029" y="3436754"/>
            <a:ext cx="1323266" cy="58845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 cli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135029" y="4802871"/>
            <a:ext cx="1323266" cy="5456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DC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35029" y="2914049"/>
            <a:ext cx="1323266" cy="50731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deskto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35029" y="402521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execu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317880" y="2265773"/>
            <a:ext cx="1323266" cy="777657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mote tabula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111131" y="2343505"/>
            <a:ext cx="1378215" cy="3123451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35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6" presetClass="path" presetSubtype="0" accel="25000" decel="25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2.96296E-6 L -3.33333E-6 0.10671 C -3.33333E-6 0.15393 0.01459 0.21365 0.02644 0.21365 L 0.05313 0.21365 " pathEditMode="relative" rAng="0" ptsTypes="AAAA">
                                      <p:cBhvr>
                                        <p:cTn id="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10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processing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sp>
        <p:nvSpPr>
          <p:cNvPr id="8" name="Arrow: Left 7"/>
          <p:cNvSpPr/>
          <p:nvPr/>
        </p:nvSpPr>
        <p:spPr>
          <a:xfrm>
            <a:off x="6695444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7" name="Arrow: Left 6"/>
          <p:cNvSpPr/>
          <p:nvPr/>
        </p:nvSpPr>
        <p:spPr>
          <a:xfrm>
            <a:off x="4502181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08" y="1874744"/>
            <a:ext cx="1468975" cy="11576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4001" y="1842040"/>
            <a:ext cx="1247182" cy="12471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733" y="2684928"/>
            <a:ext cx="1281811" cy="131636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817" y="2593571"/>
            <a:ext cx="1366727" cy="1238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89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125E-6 -3.7037E-6 L -0.12109 -0.21342 C -0.14622 -0.2618 -0.18411 -0.2875 -0.22382 -0.2875 C -0.26888 -0.2875 -0.30507 -0.2618 -0.33021 -0.21342 L -0.45104 -3.7037E-6 " pathEditMode="relative" rAng="0" ptsTypes="AAAAA">
                                      <p:cBhvr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52" y="-1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250"/>
                            </p:stCondLst>
                            <p:childTnLst>
                              <p:par>
                                <p:cTn id="46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862 -0.11088 L 0.14193 -0.26667 C 0.16745 -0.30208 0.20599 -0.32083 0.24649 -0.32083 C 0.29245 -0.32083 0.32943 -0.30208 0.35495 -0.26667 L 0.47839 -0.11088 " pathEditMode="relative" rAng="0" ptsTypes="AAAAA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982" y="-105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dential data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sp>
        <p:nvSpPr>
          <p:cNvPr id="9" name="TextBox 8"/>
          <p:cNvSpPr txBox="1"/>
          <p:nvPr/>
        </p:nvSpPr>
        <p:spPr>
          <a:xfrm>
            <a:off x="9412014" y="5692700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room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3922" y="1860356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access device?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7970928" y="2288628"/>
            <a:ext cx="783090" cy="125066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9" idx="0"/>
          </p:cNvCxnSpPr>
          <p:nvPr/>
        </p:nvCxnSpPr>
        <p:spPr>
          <a:xfrm flipH="1" flipV="1">
            <a:off x="9637173" y="4682359"/>
            <a:ext cx="846896" cy="10103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303133" y="5108254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 is the data?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279515" y="2513537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person?</a:t>
            </a:r>
          </a:p>
        </p:txBody>
      </p:sp>
      <p:cxnSp>
        <p:nvCxnSpPr>
          <p:cNvPr id="19" name="Straight Arrow Connector 18"/>
          <p:cNvCxnSpPr>
            <a:cxnSpLocks/>
          </p:cNvCxnSpPr>
          <p:nvPr/>
        </p:nvCxnSpPr>
        <p:spPr>
          <a:xfrm flipH="1">
            <a:off x="9412014" y="2941809"/>
            <a:ext cx="1144507" cy="5942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726917" y="3705718"/>
            <a:ext cx="119766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>
                <a:solidFill>
                  <a:schemeClr val="accent1">
                    <a:lumMod val="75000"/>
                  </a:schemeClr>
                </a:solidFill>
              </a:rPr>
              <a:t>?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5922268" y="6039498"/>
            <a:ext cx="4230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 do results leave the room?</a:t>
            </a:r>
          </a:p>
        </p:txBody>
      </p:sp>
      <p:cxnSp>
        <p:nvCxnSpPr>
          <p:cNvPr id="20" name="Straight Arrow Connector 19"/>
          <p:cNvCxnSpPr>
            <a:cxnSpLocks/>
          </p:cNvCxnSpPr>
          <p:nvPr/>
        </p:nvCxnSpPr>
        <p:spPr>
          <a:xfrm flipH="1">
            <a:off x="7480385" y="4682359"/>
            <a:ext cx="882088" cy="1282672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7423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3239">
        <p:fade/>
      </p:transition>
    </mc:Choice>
    <mc:Fallback xmlns="">
      <p:transition spd="med" advTm="2323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4" grpId="0"/>
      <p:bldP spid="18" grpId="0"/>
      <p:bldP spid="17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processing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08" y="1874744"/>
            <a:ext cx="1468975" cy="1157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852" y="2963069"/>
            <a:ext cx="2966195" cy="1978429"/>
          </a:xfrm>
          <a:prstGeom prst="rect">
            <a:avLst/>
          </a:prstGeom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2162150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125E-6 -3.7037E-6 L -0.12109 -0.21342 C -0.14622 -0.2618 -0.18411 -0.2875 -0.22382 -0.2875 C -0.26888 -0.2875 -0.30507 -0.2618 -0.33021 -0.21342 L -0.45104 -3.7037E-6 " pathEditMode="relative" rAng="0" ptsTypes="AAAAA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552" y="-1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50"/>
                            </p:stCondLst>
                            <p:childTnLst>
                              <p:par>
                                <p:cTn id="1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matrix for remote submission</a:t>
            </a: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087266"/>
              </p:ext>
            </p:extLst>
          </p:nvPr>
        </p:nvGraphicFramePr>
        <p:xfrm>
          <a:off x="1554480" y="1517690"/>
          <a:ext cx="9459885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Synthetic da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ustom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accent2"/>
                          </a:solidFill>
                        </a:rPr>
                        <a:t>comput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2000" b="1" baseline="0" dirty="0">
                          <a:solidFill>
                            <a:schemeClr val="accent2"/>
                          </a:solidFill>
                        </a:rPr>
                        <a:t>cluster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Any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(SAS, R Stata, </a:t>
                      </a:r>
                      <a:r>
                        <a:rPr lang="en-US" sz="1800" b="1" dirty="0" err="1">
                          <a:solidFill>
                            <a:srgbClr val="00B050"/>
                          </a:solidFill>
                        </a:rPr>
                        <a:t>Matlab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)</a:t>
                      </a:r>
                      <a:endParaRPr lang="en-US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AB</a:t>
                      </a:r>
                      <a:r>
                        <a:rPr lang="en-US" dirty="0"/>
                        <a:t>: </a:t>
                      </a:r>
                      <a:r>
                        <a:rPr lang="en-US" dirty="0" err="1"/>
                        <a:t>JoSuA</a:t>
                      </a:r>
                      <a:r>
                        <a:rPr lang="en-US" dirty="0"/>
                        <a:t> resear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propos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(Stata, whitelist commands)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4944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ustralian </a:t>
                      </a:r>
                      <a:r>
                        <a:rPr lang="en-US" dirty="0" err="1"/>
                        <a:t>TableBuil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Tables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Embedded/</a:t>
                      </a:r>
                      <a:r>
                        <a:rPr lang="en-US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</a:rPr>
                        <a:t>tab. noise infusion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/ &gt;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3636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nada </a:t>
                      </a:r>
                      <a:r>
                        <a:rPr lang="en-US" dirty="0">
                          <a:hlinkClick r:id="rId3"/>
                        </a:rPr>
                        <a:t>RT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Upload through</a:t>
                      </a:r>
                      <a:r>
                        <a:rPr lang="en-US" b="1" baseline="0" dirty="0">
                          <a:solidFill>
                            <a:srgbClr val="00B050"/>
                          </a:solidFill>
                        </a:rPr>
                        <a:t> Web</a:t>
                      </a:r>
                      <a:endParaRPr lang="en-US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+ license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(SAS, whitelist commands)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utomated controlled rou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083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C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Upload through F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Full proposa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maller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(SAS, whitelist commands)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750/</a:t>
                      </a:r>
                      <a:r>
                        <a:rPr lang="en-US" b="1" dirty="0" err="1">
                          <a:solidFill>
                            <a:schemeClr val="tx1"/>
                          </a:solidFill>
                        </a:rPr>
                        <a:t>mth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4043538"/>
                  </a:ext>
                </a:extLst>
              </a:tr>
            </a:tbl>
          </a:graphicData>
        </a:graphic>
      </p:graphicFrame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6058919"/>
              </p:ext>
            </p:extLst>
          </p:nvPr>
        </p:nvGraphicFramePr>
        <p:xfrm>
          <a:off x="1554480" y="1517690"/>
          <a:ext cx="9459885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MAS/AQ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Web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None (?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Smalles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</a:rPr>
                        <a:t>(whitelist command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Embedded/ vario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5899790"/>
              </p:ext>
            </p:extLst>
          </p:nvPr>
        </p:nvGraphicFramePr>
        <p:xfrm>
          <a:off x="1554480" y="1517690"/>
          <a:ext cx="9459885" cy="149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720">
                  <a:extLst>
                    <a:ext uri="{9D8B030D-6E8A-4147-A177-3AD203B41FA5}">
                      <a16:colId xmlns:a16="http://schemas.microsoft.com/office/drawing/2014/main" val="3018929717"/>
                    </a:ext>
                  </a:extLst>
                </a:gridCol>
                <a:gridCol w="1522693">
                  <a:extLst>
                    <a:ext uri="{9D8B030D-6E8A-4147-A177-3AD203B41FA5}">
                      <a16:colId xmlns:a16="http://schemas.microsoft.com/office/drawing/2014/main" val="4192136948"/>
                    </a:ext>
                  </a:extLst>
                </a:gridCol>
                <a:gridCol w="1614010">
                  <a:extLst>
                    <a:ext uri="{9D8B030D-6E8A-4147-A177-3AD203B41FA5}">
                      <a16:colId xmlns:a16="http://schemas.microsoft.com/office/drawing/2014/main" val="1135676397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3279786775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2296033466"/>
                    </a:ext>
                  </a:extLst>
                </a:gridCol>
                <a:gridCol w="1636154">
                  <a:extLst>
                    <a:ext uri="{9D8B030D-6E8A-4147-A177-3AD203B41FA5}">
                      <a16:colId xmlns:a16="http://schemas.microsoft.com/office/drawing/2014/main" val="4135797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 of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compu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lysis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157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B</a:t>
                      </a:r>
                      <a:r>
                        <a:rPr lang="en-US" dirty="0"/>
                        <a:t>:</a:t>
                      </a:r>
                      <a:r>
                        <a:rPr lang="en-US" baseline="0" dirty="0"/>
                        <a:t> Synthetic da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ustom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accent2"/>
                          </a:solidFill>
                        </a:rPr>
                        <a:t>comput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2000" b="1" baseline="0" dirty="0">
                          <a:solidFill>
                            <a:schemeClr val="accent2"/>
                          </a:solidFill>
                        </a:rPr>
                        <a:t>cluster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Simplified propos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Any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(SAS, R Stata, </a:t>
                      </a:r>
                      <a:r>
                        <a:rPr lang="en-US" sz="1800" b="1" dirty="0" err="1">
                          <a:solidFill>
                            <a:srgbClr val="00B050"/>
                          </a:solidFill>
                        </a:rPr>
                        <a:t>Matlab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)</a:t>
                      </a:r>
                      <a:endParaRPr lang="en-US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Manual/ tradi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2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9965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ltimate remote submi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614" y="3447035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Co-author with an employee of stats agency…</a:t>
            </a:r>
          </a:p>
        </p:txBody>
      </p:sp>
    </p:spTree>
    <p:extLst>
      <p:ext uri="{BB962C8B-B14F-4D97-AF65-F5344CB8AC3E}">
        <p14:creationId xmlns:p14="http://schemas.microsoft.com/office/powerpoint/2010/main" val="2114097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access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setup required</a:t>
            </a:r>
          </a:p>
          <a:p>
            <a:pPr lvl="1"/>
            <a:r>
              <a:rPr lang="en-US" dirty="0"/>
              <a:t>IAB’s </a:t>
            </a:r>
            <a:r>
              <a:rPr lang="en-US" dirty="0" err="1"/>
              <a:t>JoSuA</a:t>
            </a:r>
            <a:r>
              <a:rPr lang="en-US" dirty="0"/>
              <a:t> starts with a regular “on-site” access</a:t>
            </a:r>
          </a:p>
          <a:p>
            <a:pPr lvl="1"/>
            <a:r>
              <a:rPr lang="en-US" dirty="0"/>
              <a:t>NCHS has a regular proposal process, billing is involved</a:t>
            </a:r>
          </a:p>
          <a:p>
            <a:pPr lvl="1"/>
            <a:r>
              <a:rPr lang="en-US" dirty="0" err="1"/>
              <a:t>StatCan’s</a:t>
            </a:r>
            <a:r>
              <a:rPr lang="en-US" dirty="0"/>
              <a:t> RTRA has a proposal process, review, etc.</a:t>
            </a:r>
          </a:p>
          <a:p>
            <a:r>
              <a:rPr lang="en-US" dirty="0"/>
              <a:t>Testing in order to process remotely</a:t>
            </a:r>
          </a:p>
          <a:p>
            <a:pPr lvl="1"/>
            <a:r>
              <a:rPr lang="en-US" dirty="0"/>
              <a:t>Dummy or test files (IAB)</a:t>
            </a:r>
          </a:p>
          <a:p>
            <a:pPr lvl="1"/>
            <a:r>
              <a:rPr lang="en-US" dirty="0"/>
              <a:t>“Synthetic” files (</a:t>
            </a:r>
            <a:r>
              <a:rPr lang="en-US" dirty="0" err="1"/>
              <a:t>StatCa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Pre-defined data dictionaries (NCHS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0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6924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hidden element: how is Disclosure Avoidance don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Most access methods:</a:t>
            </a:r>
          </a:p>
          <a:p>
            <a:pPr lvl="1"/>
            <a:r>
              <a:rPr lang="en-US" dirty="0"/>
              <a:t>Enforcing minimum count of entities in a statistic (coefficient, mean, </a:t>
            </a:r>
            <a:r>
              <a:rPr lang="en-US" dirty="0" err="1"/>
              <a:t>stddev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Prohibiting creation of tabular data (or making it very expensive)</a:t>
            </a:r>
          </a:p>
          <a:p>
            <a:pPr lvl="1"/>
            <a:r>
              <a:rPr lang="en-US" dirty="0"/>
              <a:t>(Vain) attempt at tracking overlapping releases</a:t>
            </a:r>
          </a:p>
          <a:p>
            <a:r>
              <a:rPr lang="en-US" dirty="0"/>
              <a:t>Automated systems</a:t>
            </a:r>
          </a:p>
          <a:p>
            <a:pPr lvl="1"/>
            <a:r>
              <a:rPr lang="en-US" dirty="0"/>
              <a:t>Tracking of cells, implementation of (randomized) rounding, suppression, (output) noise infusion (</a:t>
            </a:r>
            <a:r>
              <a:rPr lang="en-US" dirty="0" err="1"/>
              <a:t>StatCan</a:t>
            </a:r>
            <a:r>
              <a:rPr lang="en-US" dirty="0"/>
              <a:t>, ABS)</a:t>
            </a:r>
          </a:p>
          <a:p>
            <a:pPr lvl="1"/>
            <a:r>
              <a:rPr lang="en-US" dirty="0"/>
              <a:t>Similar in CB’s Microdata Analysis System/Automated Query System</a:t>
            </a:r>
          </a:p>
          <a:p>
            <a:r>
              <a:rPr lang="en-US" dirty="0"/>
              <a:t>Newer mechanisms</a:t>
            </a:r>
          </a:p>
          <a:p>
            <a:pPr lvl="1"/>
            <a:r>
              <a:rPr lang="en-US" dirty="0"/>
              <a:t>Noise infusion upon computation</a:t>
            </a:r>
          </a:p>
          <a:p>
            <a:pPr lvl="1"/>
            <a:r>
              <a:rPr lang="en-US" dirty="0"/>
              <a:t>Differentially-private output perturbation (of model-based statistics, incl. coefficients and expected counts)</a:t>
            </a:r>
          </a:p>
        </p:txBody>
      </p:sp>
    </p:spTree>
    <p:extLst>
      <p:ext uri="{BB962C8B-B14F-4D97-AF65-F5344CB8AC3E}">
        <p14:creationId xmlns:p14="http://schemas.microsoft.com/office/powerpoint/2010/main" val="277060414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dden cost: how to train the user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ming</a:t>
            </a:r>
          </a:p>
          <a:p>
            <a:pPr lvl="1"/>
            <a:r>
              <a:rPr lang="en-US" dirty="0"/>
              <a:t>DP-safe programming is hard for computer scientists → lost cause with social scientists until incorporated into SAS, Stata, etc.</a:t>
            </a:r>
          </a:p>
          <a:p>
            <a:r>
              <a:rPr lang="en-US" dirty="0"/>
              <a:t>Tools</a:t>
            </a:r>
          </a:p>
          <a:p>
            <a:pPr lvl="1"/>
            <a:r>
              <a:rPr lang="en-US" dirty="0"/>
              <a:t>Mostly lacking (in all of the environments that I have experienced)</a:t>
            </a:r>
          </a:p>
          <a:p>
            <a:r>
              <a:rPr lang="en-US" dirty="0"/>
              <a:t>Concept</a:t>
            </a:r>
          </a:p>
          <a:p>
            <a:pPr lvl="1"/>
            <a:r>
              <a:rPr lang="en-US" dirty="0"/>
              <a:t>Researchers have a hard time understanding confidentiality constraints</a:t>
            </a:r>
          </a:p>
          <a:p>
            <a:pPr lvl="1"/>
            <a:r>
              <a:rPr lang="en-US" dirty="0"/>
              <a:t>Researchers have a hard time accepting confidentiality constraint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2174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from a survey of FSRDC us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rvey run in October 2015, 145 respond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414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RDC user experience: DA protoco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4360693"/>
            <a:ext cx="10515600" cy="1816269"/>
          </a:xfrm>
        </p:spPr>
        <p:txBody>
          <a:bodyPr/>
          <a:lstStyle/>
          <a:p>
            <a:r>
              <a:rPr lang="en-US" dirty="0"/>
              <a:t>39% no prior experience</a:t>
            </a:r>
          </a:p>
          <a:p>
            <a:r>
              <a:rPr lang="en-US" dirty="0"/>
              <a:t>30% some experience</a:t>
            </a:r>
          </a:p>
          <a:p>
            <a:r>
              <a:rPr lang="en-US" dirty="0"/>
              <a:t>31% quite familia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745" y="1825625"/>
            <a:ext cx="11760510" cy="253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03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RDC user experience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4592171"/>
            <a:ext cx="10515600" cy="1584791"/>
          </a:xfrm>
        </p:spPr>
        <p:txBody>
          <a:bodyPr/>
          <a:lstStyle/>
          <a:p>
            <a:r>
              <a:rPr lang="en-US" dirty="0"/>
              <a:t>14% disagree or strongly disagree</a:t>
            </a:r>
          </a:p>
          <a:p>
            <a:r>
              <a:rPr lang="en-US" dirty="0"/>
              <a:t>73% agree or strongly agree</a:t>
            </a:r>
          </a:p>
          <a:p>
            <a:r>
              <a:rPr lang="en-US" dirty="0"/>
              <a:t>13% do neithe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209" y="1760048"/>
            <a:ext cx="11090262" cy="2923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08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aradigm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12014" y="5692700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room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3922" y="1860356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access device?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7970928" y="2288628"/>
            <a:ext cx="783090" cy="125066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9" idx="0"/>
          </p:cNvCxnSpPr>
          <p:nvPr/>
        </p:nvCxnSpPr>
        <p:spPr>
          <a:xfrm flipH="1" flipV="1">
            <a:off x="9637173" y="4682359"/>
            <a:ext cx="846896" cy="10103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303133" y="5108254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 is the data?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550" y="2960447"/>
            <a:ext cx="1468975" cy="1157699"/>
          </a:xfrm>
          <a:prstGeom prst="rect">
            <a:avLst/>
          </a:prstGeom>
        </p:spPr>
      </p:pic>
      <p:cxnSp>
        <p:nvCxnSpPr>
          <p:cNvPr id="17" name="Straight Arrow Connector 16"/>
          <p:cNvCxnSpPr>
            <a:cxnSpLocks/>
          </p:cNvCxnSpPr>
          <p:nvPr/>
        </p:nvCxnSpPr>
        <p:spPr>
          <a:xfrm flipV="1">
            <a:off x="6765706" y="4118146"/>
            <a:ext cx="1988312" cy="99010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578353" y="874985"/>
            <a:ext cx="4916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“Data Enclave” or “Secure Room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438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817"/>
    </mc:Choice>
    <mc:Fallback xmlns="">
      <p:transition spd="slow" advTm="298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29167E-6 0.07824 L 0.1181 -0.19352 C 0.14258 -0.25509 0.17956 -0.2875 0.21836 -0.2875 C 0.26237 -0.2875 0.29792 -0.25509 0.3224 -0.19352 L 0.44063 0.07824 " pathEditMode="relative" rAng="0" ptsTypes="AAAAA">
                                      <p:cBhvr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031" y="-18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4" grpId="0"/>
      <p:bldP spid="11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from a survey of FSRDC us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closure avoidance:</a:t>
            </a:r>
          </a:p>
          <a:p>
            <a:pPr lvl="1"/>
            <a:r>
              <a:rPr lang="en-US" dirty="0"/>
              <a:t>Users (NCHS) complained that “Disclosure avoidance personnel declined to approve output because they were not familiar with the software” despite pre-approval of generic output. </a:t>
            </a:r>
          </a:p>
          <a:p>
            <a:pPr lvl="1"/>
            <a:r>
              <a:rPr lang="en-US" dirty="0"/>
              <a:t>Other users grudgingly acknowledged that they “cannot avoid disclosure review” (on a NCHS project)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0689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content, method, and frequ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7965014"/>
              </p:ext>
            </p:extLst>
          </p:nvPr>
        </p:nvGraphicFramePr>
        <p:xfrm>
          <a:off x="838200" y="1825625"/>
          <a:ext cx="10515600" cy="281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 too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s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30161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ible Conduct of Research (RCR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Course Introduction</a:t>
            </a:r>
          </a:p>
          <a:p>
            <a:r>
              <a:rPr lang="en-US" dirty="0"/>
              <a:t>Research Misconduct </a:t>
            </a:r>
          </a:p>
          <a:p>
            <a:r>
              <a:rPr lang="en-US" dirty="0"/>
              <a:t>Research Involving Human Subjects </a:t>
            </a:r>
          </a:p>
          <a:p>
            <a:r>
              <a:rPr lang="en-US" dirty="0"/>
              <a:t>Plagiarism </a:t>
            </a:r>
          </a:p>
          <a:p>
            <a:r>
              <a:rPr lang="en-US" dirty="0"/>
              <a:t>Authorship </a:t>
            </a:r>
          </a:p>
          <a:p>
            <a:r>
              <a:rPr lang="en-US" dirty="0"/>
              <a:t>Collaborative Research </a:t>
            </a:r>
          </a:p>
          <a:p>
            <a:r>
              <a:rPr lang="en-US" dirty="0"/>
              <a:t>Conflicts of Interest </a:t>
            </a:r>
          </a:p>
          <a:p>
            <a:r>
              <a:rPr lang="en-US" dirty="0"/>
              <a:t>Data Management </a:t>
            </a:r>
          </a:p>
          <a:p>
            <a:r>
              <a:rPr lang="en-US" dirty="0"/>
              <a:t>Mentoring </a:t>
            </a:r>
          </a:p>
          <a:p>
            <a:r>
              <a:rPr lang="en-US" dirty="0"/>
              <a:t>Peer Review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46520" y="1953260"/>
            <a:ext cx="3728720" cy="1938992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114300" dist="3175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Comic Sans MS" panose="030F0702030302020204" pitchFamily="66" charset="0"/>
              </a:rPr>
              <a:t>Approximately</a:t>
            </a:r>
            <a:br>
              <a:rPr lang="en-US" sz="4000" dirty="0">
                <a:latin typeface="Comic Sans MS" panose="030F0702030302020204" pitchFamily="66" charset="0"/>
              </a:rPr>
            </a:br>
            <a:r>
              <a:rPr lang="en-US" sz="4000" dirty="0">
                <a:latin typeface="Comic Sans MS" panose="030F0702030302020204" pitchFamily="66" charset="0"/>
              </a:rPr>
              <a:t>3</a:t>
            </a:r>
            <a:br>
              <a:rPr lang="en-US" sz="4000" dirty="0">
                <a:latin typeface="Comic Sans MS" panose="030F0702030302020204" pitchFamily="66" charset="0"/>
              </a:rPr>
            </a:br>
            <a:r>
              <a:rPr lang="en-US" sz="4000" dirty="0">
                <a:latin typeface="Comic Sans MS" panose="030F0702030302020204" pitchFamily="66" charset="0"/>
              </a:rPr>
              <a:t>hou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335520" y="3667760"/>
            <a:ext cx="3728720" cy="923330"/>
          </a:xfrm>
          <a:prstGeom prst="rect">
            <a:avLst/>
          </a:prstGeom>
          <a:solidFill>
            <a:schemeClr val="bg1"/>
          </a:solidFill>
          <a:ln w="63500">
            <a:solidFill>
              <a:srgbClr val="B31B1B"/>
            </a:solidFill>
          </a:ln>
          <a:effectLst>
            <a:outerShdw blurRad="114300" dist="3175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omic Sans MS" panose="030F0702030302020204" pitchFamily="66" charset="0"/>
              </a:rPr>
              <a:t>Note:</a:t>
            </a:r>
            <a:br>
              <a:rPr lang="en-US" dirty="0">
                <a:latin typeface="Comic Sans MS" panose="030F0702030302020204" pitchFamily="66" charset="0"/>
              </a:rPr>
            </a:br>
            <a:r>
              <a:rPr lang="en-US" dirty="0">
                <a:latin typeface="Comic Sans MS" panose="030F0702030302020204" pitchFamily="66" charset="0"/>
              </a:rPr>
              <a:t>No discussion of practical disclosure avoidance, etc.</a:t>
            </a:r>
          </a:p>
        </p:txBody>
      </p:sp>
    </p:spTree>
    <p:extLst>
      <p:ext uri="{BB962C8B-B14F-4D97-AF65-F5344CB8AC3E}">
        <p14:creationId xmlns:p14="http://schemas.microsoft.com/office/powerpoint/2010/main" val="3111176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nch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e-time initial training</a:t>
            </a:r>
          </a:p>
          <a:p>
            <a:r>
              <a:rPr lang="en-US" dirty="0"/>
              <a:t>3 (three) hours on-site classroom training</a:t>
            </a:r>
          </a:p>
          <a:p>
            <a:r>
              <a:rPr lang="en-US" dirty="0"/>
              <a:t>Travel to Paris required</a:t>
            </a:r>
          </a:p>
          <a:p>
            <a:r>
              <a:rPr lang="en-US" dirty="0"/>
              <a:t>First slide: </a:t>
            </a:r>
            <a:r>
              <a:rPr lang="en-US" b="1" dirty="0"/>
              <a:t>legal penalties</a:t>
            </a:r>
          </a:p>
          <a:p>
            <a:r>
              <a:rPr lang="en-US" dirty="0"/>
              <a:t>Quarter of slides: </a:t>
            </a:r>
            <a:r>
              <a:rPr lang="en-US" b="1" dirty="0"/>
              <a:t>disclosure rules</a:t>
            </a:r>
          </a:p>
          <a:p>
            <a:pPr lvl="1"/>
            <a:r>
              <a:rPr lang="en-US" dirty="0"/>
              <a:t>Mostly cell-count rules</a:t>
            </a:r>
          </a:p>
          <a:p>
            <a:pPr lvl="1"/>
            <a:r>
              <a:rPr lang="en-US" dirty="0"/>
              <a:t>Mostly (numeric) examples of primary/secondary suppression</a:t>
            </a:r>
          </a:p>
          <a:p>
            <a:pPr lvl="1"/>
            <a:r>
              <a:rPr lang="en-US" dirty="0"/>
              <a:t>Examples of what confidential supplementary files should look like</a:t>
            </a:r>
          </a:p>
          <a:p>
            <a:r>
              <a:rPr lang="en-US" dirty="0"/>
              <a:t>Half of slides: </a:t>
            </a:r>
            <a:r>
              <a:rPr lang="en-US" b="1" dirty="0"/>
              <a:t>technical system </a:t>
            </a:r>
            <a:r>
              <a:rPr lang="en-US" dirty="0"/>
              <a:t>with live demo</a:t>
            </a:r>
          </a:p>
        </p:txBody>
      </p:sp>
    </p:spTree>
    <p:extLst>
      <p:ext uri="{BB962C8B-B14F-4D97-AF65-F5344CB8AC3E}">
        <p14:creationId xmlns:p14="http://schemas.microsoft.com/office/powerpoint/2010/main" val="89989023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0016" y="386715"/>
            <a:ext cx="9784080" cy="1325563"/>
          </a:xfrm>
        </p:spPr>
        <p:txBody>
          <a:bodyPr/>
          <a:lstStyle/>
          <a:p>
            <a:r>
              <a:rPr lang="en-US" dirty="0"/>
              <a:t>CASD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00" y="6366343"/>
            <a:ext cx="10515600" cy="458704"/>
          </a:xfrm>
        </p:spPr>
        <p:txBody>
          <a:bodyPr>
            <a:normAutofit/>
          </a:bodyPr>
          <a:lstStyle/>
          <a:p>
            <a:r>
              <a:rPr lang="en-US" sz="1100" dirty="0"/>
              <a:t>Source: CASD training materials 2017-01-12</a:t>
            </a:r>
          </a:p>
        </p:txBody>
      </p:sp>
      <p:pic>
        <p:nvPicPr>
          <p:cNvPr id="4" name="Picture 2" descr="\\eden\PartageGroupesUtilisateurs\CASD\Doc-Informatique\Schémas GMV\SDBox Entreprise Sensitive Data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0016" y="273368"/>
            <a:ext cx="8611968" cy="609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081390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8273" y="399415"/>
            <a:ext cx="9784080" cy="1325563"/>
          </a:xfrm>
        </p:spPr>
        <p:txBody>
          <a:bodyPr/>
          <a:lstStyle/>
          <a:p>
            <a:r>
              <a:rPr lang="en-US" dirty="0"/>
              <a:t>CASD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00" y="6366343"/>
            <a:ext cx="10515600" cy="458704"/>
          </a:xfrm>
        </p:spPr>
        <p:txBody>
          <a:bodyPr>
            <a:normAutofit/>
          </a:bodyPr>
          <a:lstStyle/>
          <a:p>
            <a:r>
              <a:rPr lang="en-US" sz="1100" dirty="0"/>
              <a:t>Source: CASD training materials 2017-01-12</a:t>
            </a:r>
          </a:p>
        </p:txBody>
      </p:sp>
      <p:pic>
        <p:nvPicPr>
          <p:cNvPr id="5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8273" y="693045"/>
            <a:ext cx="7456054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6240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D secur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ur-factor authentication</a:t>
            </a:r>
          </a:p>
          <a:p>
            <a:pPr lvl="1"/>
            <a:r>
              <a:rPr lang="en-US" dirty="0"/>
              <a:t>Device </a:t>
            </a:r>
          </a:p>
          <a:p>
            <a:pPr lvl="1"/>
            <a:r>
              <a:rPr lang="en-US" dirty="0"/>
              <a:t>Card</a:t>
            </a:r>
          </a:p>
          <a:p>
            <a:pPr lvl="1"/>
            <a:r>
              <a:rPr lang="en-US" dirty="0"/>
              <a:t>Fingerprint</a:t>
            </a:r>
          </a:p>
          <a:p>
            <a:pPr lvl="1"/>
            <a:r>
              <a:rPr lang="en-US" dirty="0"/>
              <a:t>Password</a:t>
            </a:r>
          </a:p>
          <a:p>
            <a:r>
              <a:rPr lang="en-US" dirty="0"/>
              <a:t>Loss of card (+fingerprint data) </a:t>
            </a:r>
            <a:br>
              <a:rPr lang="en-US" dirty="0"/>
            </a:br>
            <a:r>
              <a:rPr lang="en-US" dirty="0"/>
              <a:t>→ trip back to Paris to create a new one</a:t>
            </a: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960" y="1510060"/>
            <a:ext cx="5181600" cy="2757742"/>
          </a:xfrm>
          <a:prstGeom prst="rect">
            <a:avLst/>
          </a:prstGeom>
          <a:effectLst>
            <a:softEdge rad="203200"/>
          </a:effectLst>
        </p:spPr>
      </p:pic>
    </p:spTree>
    <p:extLst>
      <p:ext uri="{BB962C8B-B14F-4D97-AF65-F5344CB8AC3E}">
        <p14:creationId xmlns:p14="http://schemas.microsoft.com/office/powerpoint/2010/main" val="2549097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304" y="1617854"/>
            <a:ext cx="9180431" cy="5047488"/>
          </a:xfrm>
          <a:prstGeom prst="rect">
            <a:avLst/>
          </a:prstGeom>
          <a:effectLst>
            <a:outerShdw blurRad="50800" dist="165100" dir="2700000" algn="tl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2401" y="721271"/>
            <a:ext cx="4614317" cy="6297770"/>
          </a:xfrm>
          <a:prstGeom prst="rect">
            <a:avLst/>
          </a:prstGeom>
          <a:effectLst>
            <a:outerShdw blurRad="50800" dist="190500" dir="2700000" algn="tl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313" y="1526517"/>
            <a:ext cx="6665104" cy="523016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6163" y="365125"/>
            <a:ext cx="8117547" cy="5221224"/>
          </a:xfrm>
          <a:prstGeom prst="rect">
            <a:avLst/>
          </a:prstGeom>
          <a:effectLst>
            <a:outerShdw blurRad="50800" dist="139700" dir="2700000" algn="tl" rotWithShape="0">
              <a:prstClr val="black">
                <a:alpha val="40000"/>
              </a:prstClr>
            </a:out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357319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ensus Bureau</a:t>
            </a:r>
          </a:p>
          <a:p>
            <a:pPr lvl="1"/>
            <a:r>
              <a:rPr lang="en-US" dirty="0"/>
              <a:t>CES seminars featuring FSRDC presenters</a:t>
            </a:r>
          </a:p>
          <a:p>
            <a:pPr lvl="1"/>
            <a:r>
              <a:rPr lang="en-US" dirty="0"/>
              <a:t>CES graduate mentorship</a:t>
            </a:r>
          </a:p>
          <a:p>
            <a:pPr lvl="1"/>
            <a:r>
              <a:rPr lang="en-US" dirty="0"/>
              <a:t>FSRDC conference</a:t>
            </a:r>
          </a:p>
          <a:p>
            <a:r>
              <a:rPr lang="en-US" dirty="0"/>
              <a:t>CASD</a:t>
            </a:r>
          </a:p>
          <a:p>
            <a:pPr lvl="1"/>
            <a:r>
              <a:rPr lang="en-US" dirty="0"/>
              <a:t>Initial training plays a role</a:t>
            </a:r>
          </a:p>
          <a:p>
            <a:pPr lvl="1"/>
            <a:r>
              <a:rPr lang="en-US" dirty="0"/>
              <a:t>So far, only one conference, but very high-profile</a:t>
            </a:r>
          </a:p>
          <a:p>
            <a:pPr lvl="2"/>
            <a:r>
              <a:rPr lang="en-US" dirty="0"/>
              <a:t>Piketty video [</a:t>
            </a:r>
            <a:r>
              <a:rPr lang="en-US" dirty="0">
                <a:hlinkClick r:id="rId3"/>
              </a:rPr>
              <a:t>URL</a:t>
            </a:r>
            <a:r>
              <a:rPr lang="en-US" dirty="0"/>
              <a:t>]</a:t>
            </a:r>
          </a:p>
          <a:p>
            <a:pPr lvl="2"/>
            <a:r>
              <a:rPr lang="en-US" dirty="0"/>
              <a:t>Minister of State for Digital Affairs Axelle </a:t>
            </a:r>
            <a:r>
              <a:rPr lang="en-US" dirty="0" err="1"/>
              <a:t>Lemaire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5394" y="3325362"/>
            <a:ext cx="3450210" cy="182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77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3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(cont.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AB</a:t>
            </a:r>
          </a:p>
          <a:p>
            <a:pPr lvl="1"/>
            <a:r>
              <a:rPr lang="en-US" dirty="0"/>
              <a:t>(past) visits to </a:t>
            </a:r>
            <a:r>
              <a:rPr lang="en-US" dirty="0" err="1"/>
              <a:t>Nürnberg</a:t>
            </a:r>
            <a:r>
              <a:rPr lang="en-US" dirty="0"/>
              <a:t> suggested and funded to connect with researchers</a:t>
            </a:r>
          </a:p>
          <a:p>
            <a:pPr lvl="1"/>
            <a:r>
              <a:rPr lang="en-US" dirty="0"/>
              <a:t>So far, one international conference (at Michigan, organized by Maggie </a:t>
            </a:r>
            <a:r>
              <a:rPr lang="en-US" dirty="0" err="1"/>
              <a:t>Levenstei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Overseas RDCs are a community-building exercise</a:t>
            </a:r>
          </a:p>
          <a:p>
            <a:pPr lvl="1"/>
            <a:r>
              <a:rPr lang="en-US" dirty="0"/>
              <a:t>Flooding the job market with economics graduates who have worked with German data…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57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deal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51" y="3307499"/>
            <a:ext cx="1226342" cy="115028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12014" y="5692700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room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3922" y="1860356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access device?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7970928" y="2288628"/>
            <a:ext cx="783090" cy="125066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9" idx="0"/>
          </p:cNvCxnSpPr>
          <p:nvPr/>
        </p:nvCxnSpPr>
        <p:spPr>
          <a:xfrm flipH="1" flipV="1">
            <a:off x="9637173" y="4682359"/>
            <a:ext cx="846896" cy="10103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303133" y="5108254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 is the data?</a:t>
            </a:r>
          </a:p>
        </p:txBody>
      </p:sp>
      <p:cxnSp>
        <p:nvCxnSpPr>
          <p:cNvPr id="17" name="Straight Arrow Connector 16"/>
          <p:cNvCxnSpPr>
            <a:cxnSpLocks/>
          </p:cNvCxnSpPr>
          <p:nvPr/>
        </p:nvCxnSpPr>
        <p:spPr>
          <a:xfrm flipV="1">
            <a:off x="6765706" y="4118146"/>
            <a:ext cx="1988312" cy="99010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578353" y="874985"/>
            <a:ext cx="4916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“Data Enclave” or “Secure Room”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578353" y="862203"/>
            <a:ext cx="438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“My laptop”</a:t>
            </a:r>
          </a:p>
        </p:txBody>
      </p:sp>
    </p:spTree>
    <p:extLst>
      <p:ext uri="{BB962C8B-B14F-4D97-AF65-F5344CB8AC3E}">
        <p14:creationId xmlns:p14="http://schemas.microsoft.com/office/powerpoint/2010/main" val="296450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397"/>
    </mc:Choice>
    <mc:Fallback xmlns="">
      <p:transition spd="slow" advTm="173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8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content, method, and frequ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avoidance tool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6114971"/>
              </p:ext>
            </p:extLst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3106370"/>
              </p:ext>
            </p:extLst>
          </p:nvPr>
        </p:nvGraphicFramePr>
        <p:xfrm>
          <a:off x="838200" y="1825625"/>
          <a:ext cx="10515600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27096024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85009341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28357268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4144879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174214765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9939100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ess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closure rul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con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8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S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 </a:t>
                      </a:r>
                      <a:br>
                        <a:rPr lang="en-US" dirty="0"/>
                      </a:br>
                      <a:r>
                        <a:rPr lang="en-US" sz="1400" dirty="0"/>
                        <a:t>(+ site specif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42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AB RD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 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, oth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rregul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9342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D (F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person (3h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4078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nm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DF</a:t>
                      </a:r>
                      <a:br>
                        <a:rPr lang="en-US" dirty="0"/>
                      </a:br>
                      <a:r>
                        <a:rPr lang="en-US" sz="1400" dirty="0"/>
                        <a:t>(Contrac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82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5007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and tru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gal obligations matter</a:t>
            </a:r>
          </a:p>
          <a:p>
            <a:pPr lvl="1"/>
            <a:r>
              <a:rPr lang="en-US" dirty="0"/>
              <a:t>Criminal vs. contractual obligations</a:t>
            </a:r>
          </a:p>
          <a:p>
            <a:pPr lvl="1"/>
            <a:r>
              <a:rPr lang="en-US" dirty="0"/>
              <a:t>Obligating the institutions more strongly may help relax other constraints</a:t>
            </a:r>
          </a:p>
          <a:p>
            <a:r>
              <a:rPr lang="en-US" dirty="0"/>
              <a:t>Community matters</a:t>
            </a:r>
          </a:p>
          <a:p>
            <a:pPr lvl="1"/>
            <a:r>
              <a:rPr lang="en-US" dirty="0"/>
              <a:t>Pulling researchers close to the statistical agency through training</a:t>
            </a:r>
          </a:p>
          <a:p>
            <a:pPr lvl="1"/>
            <a:r>
              <a:rPr lang="en-US" dirty="0"/>
              <a:t>Creating a community through conferences, mentoring, etc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88579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ultimate achiev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30135"/>
            <a:ext cx="10515600" cy="364682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dirty="0"/>
              <a:t>What kind of community, training, legal environment would the </a:t>
            </a:r>
            <a:r>
              <a:rPr lang="en-US" sz="4000" dirty="0" err="1"/>
              <a:t>FedStat</a:t>
            </a:r>
            <a:r>
              <a:rPr lang="en-US" sz="4000" dirty="0"/>
              <a:t> system need to implement to allow researches to access confidential data the same way Census employees do?</a:t>
            </a:r>
          </a:p>
        </p:txBody>
      </p:sp>
    </p:spTree>
    <p:extLst>
      <p:ext uri="{BB962C8B-B14F-4D97-AF65-F5344CB8AC3E}">
        <p14:creationId xmlns:p14="http://schemas.microsoft.com/office/powerpoint/2010/main" val="160396649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83709" y="2521527"/>
            <a:ext cx="5135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lars.vilhuber</a:t>
            </a:r>
            <a:r>
              <a:rPr lang="en-US" dirty="0">
                <a:solidFill>
                  <a:schemeClr val="bg1"/>
                </a:solidFill>
              </a:rPr>
              <a:t>@cornell</a:t>
            </a:r>
            <a:r>
              <a:rPr lang="en-US">
                <a:solidFill>
                  <a:schemeClr val="bg1"/>
                </a:solidFill>
              </a:rPr>
              <a:t>.edu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222250"/>
          </a:xfrm>
          <a:prstGeom prst="rect">
            <a:avLst/>
          </a:prstGeom>
          <a:solidFill>
            <a:srgbClr val="B31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 descr="cu screen b31b1b.psd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74"/>
          <a:stretch/>
        </p:blipFill>
        <p:spPr>
          <a:xfrm>
            <a:off x="5447768" y="5408926"/>
            <a:ext cx="1405614" cy="1287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31317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efan Bender (formerly IAB and now Bundesbank, Germany)</a:t>
            </a:r>
          </a:p>
          <a:p>
            <a:r>
              <a:rPr lang="en-US" dirty="0" err="1"/>
              <a:t>Jörg</a:t>
            </a:r>
            <a:r>
              <a:rPr lang="en-US" dirty="0"/>
              <a:t> </a:t>
            </a:r>
            <a:r>
              <a:rPr lang="en-US" dirty="0" err="1"/>
              <a:t>Heining</a:t>
            </a:r>
            <a:r>
              <a:rPr lang="en-US" dirty="0"/>
              <a:t> (IAB, Germany)</a:t>
            </a:r>
          </a:p>
          <a:p>
            <a:r>
              <a:rPr lang="en-US" dirty="0"/>
              <a:t>Roxanne Silberman (CASD, France)</a:t>
            </a:r>
          </a:p>
          <a:p>
            <a:r>
              <a:rPr lang="en-US" dirty="0" err="1"/>
              <a:t>Kamel</a:t>
            </a:r>
            <a:r>
              <a:rPr lang="en-US" dirty="0"/>
              <a:t> </a:t>
            </a:r>
            <a:r>
              <a:rPr lang="en-US" dirty="0" err="1"/>
              <a:t>Gadouche</a:t>
            </a:r>
            <a:r>
              <a:rPr lang="en-US" dirty="0"/>
              <a:t> (CASD, France)</a:t>
            </a:r>
          </a:p>
          <a:p>
            <a:r>
              <a:rPr lang="en-US" dirty="0"/>
              <a:t>Jean Poirier (CIQSS, Canada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89248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 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/>
              <a:t>Walter Wilcox (1914) cited in Anderson, Margo J., and Seltzer, William. “Federal Statistical Confidentiality and Business Data: Twentieth Century Challenges and Continuing Issues’.” Journal of Privacy and Confidentiality 1.1 (2009): 7-52, 55-58.</a:t>
            </a:r>
          </a:p>
          <a:p>
            <a:r>
              <a:rPr lang="en-US" dirty="0" err="1"/>
              <a:t>Kohlmann</a:t>
            </a:r>
            <a:r>
              <a:rPr lang="en-US" dirty="0"/>
              <a:t>, Annette (2005): “The Research Data Centre of the Federal Employment Service in the Institute for Employment Research.” In: </a:t>
            </a:r>
            <a:r>
              <a:rPr lang="en-US" dirty="0" err="1"/>
              <a:t>Schmollers</a:t>
            </a:r>
            <a:r>
              <a:rPr lang="en-US" dirty="0"/>
              <a:t> </a:t>
            </a:r>
            <a:r>
              <a:rPr lang="en-US" dirty="0" err="1"/>
              <a:t>Jahrbuch</a:t>
            </a:r>
            <a:r>
              <a:rPr lang="en-US" dirty="0"/>
              <a:t> 125, 437-447</a:t>
            </a:r>
          </a:p>
          <a:p>
            <a:r>
              <a:rPr lang="en-US" dirty="0" err="1"/>
              <a:t>Allmendinger</a:t>
            </a:r>
            <a:r>
              <a:rPr lang="en-US" dirty="0"/>
              <a:t>, Jutta and </a:t>
            </a:r>
            <a:r>
              <a:rPr lang="en-US" dirty="0" err="1"/>
              <a:t>Kohlmann</a:t>
            </a:r>
            <a:r>
              <a:rPr lang="en-US" dirty="0"/>
              <a:t>, Annette (2005) “</a:t>
            </a:r>
            <a:r>
              <a:rPr lang="en-US" dirty="0" err="1"/>
              <a:t>Datenverfügbarkeit</a:t>
            </a:r>
            <a:r>
              <a:rPr lang="en-US" dirty="0"/>
              <a:t> und </a:t>
            </a:r>
            <a:r>
              <a:rPr lang="en-US" dirty="0" err="1"/>
              <a:t>Datenzugang</a:t>
            </a:r>
            <a:r>
              <a:rPr lang="en-US" dirty="0"/>
              <a:t> am </a:t>
            </a:r>
            <a:r>
              <a:rPr lang="en-US" dirty="0" err="1"/>
              <a:t>Forschungsdatenzentrum</a:t>
            </a:r>
            <a:r>
              <a:rPr lang="en-US" dirty="0"/>
              <a:t> der </a:t>
            </a:r>
            <a:r>
              <a:rPr lang="en-US" dirty="0" err="1"/>
              <a:t>Bundesagentur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Institu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smarkt</a:t>
            </a:r>
            <a:r>
              <a:rPr lang="en-US" dirty="0"/>
              <a:t>- und </a:t>
            </a:r>
            <a:r>
              <a:rPr lang="en-US" dirty="0" err="1"/>
              <a:t>Berufsforschung</a:t>
            </a:r>
            <a:r>
              <a:rPr lang="en-US" dirty="0"/>
              <a:t>”. In: </a:t>
            </a:r>
            <a:r>
              <a:rPr lang="en-US" dirty="0" err="1"/>
              <a:t>Allgemeines</a:t>
            </a:r>
            <a:r>
              <a:rPr lang="en-US" dirty="0"/>
              <a:t> </a:t>
            </a:r>
            <a:r>
              <a:rPr lang="en-US" dirty="0" err="1"/>
              <a:t>Statistisches</a:t>
            </a:r>
            <a:r>
              <a:rPr lang="en-US" dirty="0"/>
              <a:t> </a:t>
            </a:r>
            <a:r>
              <a:rPr lang="en-US" dirty="0" err="1"/>
              <a:t>Archiv</a:t>
            </a:r>
            <a:r>
              <a:rPr lang="en-US" dirty="0"/>
              <a:t> 89, S. 159-182</a:t>
            </a:r>
          </a:p>
          <a:p>
            <a:r>
              <a:rPr lang="en-US" dirty="0" err="1"/>
              <a:t>Heining</a:t>
            </a:r>
            <a:r>
              <a:rPr lang="en-US" dirty="0"/>
              <a:t>, </a:t>
            </a:r>
            <a:r>
              <a:rPr lang="en-US" dirty="0" err="1"/>
              <a:t>Jörg</a:t>
            </a:r>
            <a:r>
              <a:rPr lang="en-US" dirty="0"/>
              <a:t> (2010): “The Research Data Centre of the German Federal Employment Agency: data supply and demand between 2004 and 2009.” In: </a:t>
            </a:r>
            <a:r>
              <a:rPr lang="en-US" dirty="0" err="1"/>
              <a:t>Zeitschrif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ArbeitsmarktForschung</a:t>
            </a:r>
            <a:r>
              <a:rPr lang="en-US" dirty="0"/>
              <a:t>, Jg. 42, H. 4, S. 337-350. </a:t>
            </a:r>
            <a:r>
              <a:rPr lang="en-US" dirty="0">
                <a:hlinkClick r:id="rId2"/>
              </a:rPr>
              <a:t>http://www.iab.de/389/section.aspx/Publikation/k100128n09</a:t>
            </a:r>
            <a:r>
              <a:rPr lang="en-US" dirty="0"/>
              <a:t> </a:t>
            </a:r>
          </a:p>
          <a:p>
            <a:r>
              <a:rPr lang="en-US" dirty="0" err="1"/>
              <a:t>Kargus</a:t>
            </a:r>
            <a:r>
              <a:rPr lang="en-US" dirty="0"/>
              <a:t>, Andrea; Müller, Anne (2014): “Auch in </a:t>
            </a:r>
            <a:r>
              <a:rPr lang="en-US" dirty="0" err="1"/>
              <a:t>Nürnberg</a:t>
            </a:r>
            <a:r>
              <a:rPr lang="en-US" dirty="0"/>
              <a:t> </a:t>
            </a:r>
            <a:r>
              <a:rPr lang="en-US" dirty="0" err="1"/>
              <a:t>möglich</a:t>
            </a:r>
            <a:r>
              <a:rPr lang="en-US" dirty="0"/>
              <a:t>: Von der </a:t>
            </a:r>
            <a:r>
              <a:rPr lang="en-US" dirty="0" err="1"/>
              <a:t>zweiten</a:t>
            </a:r>
            <a:r>
              <a:rPr lang="en-US" dirty="0"/>
              <a:t> Liga in die Champions League - </a:t>
            </a:r>
            <a:r>
              <a:rPr lang="en-US" dirty="0" err="1"/>
              <a:t>ein</a:t>
            </a:r>
            <a:r>
              <a:rPr lang="en-US" dirty="0"/>
              <a:t> </a:t>
            </a:r>
            <a:r>
              <a:rPr lang="en-US" dirty="0" err="1"/>
              <a:t>Gespräch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Stefan Bender.” In: IAB-Forum, </a:t>
            </a:r>
            <a:r>
              <a:rPr lang="en-US" dirty="0" err="1"/>
              <a:t>Nr</a:t>
            </a:r>
            <a:r>
              <a:rPr lang="en-US" dirty="0"/>
              <a:t>. 2, S. 38-45. </a:t>
            </a:r>
            <a:r>
              <a:rPr lang="en-US" dirty="0">
                <a:hlinkClick r:id="rId3"/>
              </a:rPr>
              <a:t>http://www.iab.de/188/section.aspx/Publikation/k141201301</a:t>
            </a:r>
            <a:r>
              <a:rPr lang="en-US" dirty="0"/>
              <a:t> </a:t>
            </a:r>
          </a:p>
          <a:p>
            <a:r>
              <a:rPr lang="en-US" dirty="0"/>
              <a:t>Kraus, Rebecca S. (2011): “Statistical Déjà Vu: The National Data Center Proposal of 1965 and Its Descendants.” Presentation at JSM 2011. </a:t>
            </a:r>
            <a:r>
              <a:rPr lang="de-DE">
                <a:hlinkClick r:id="rId4"/>
              </a:rPr>
              <a:t>https://www.census.gov/history/pdf/kraus-natdatacenter.pdf</a:t>
            </a:r>
            <a:r>
              <a:rPr lang="de-DE"/>
              <a:t> </a:t>
            </a:r>
            <a:endParaRPr lang="de-D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874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things virtual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1" y="2963069"/>
            <a:ext cx="2381250" cy="2076450"/>
          </a:xfrm>
        </p:spPr>
      </p:pic>
      <p:sp>
        <p:nvSpPr>
          <p:cNvPr id="8" name="Arrow: Left 7"/>
          <p:cNvSpPr/>
          <p:nvPr/>
        </p:nvSpPr>
        <p:spPr>
          <a:xfrm>
            <a:off x="6695444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9816" y="2375147"/>
            <a:ext cx="2333407" cy="26643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893" y="1986455"/>
            <a:ext cx="2643287" cy="3216166"/>
          </a:xfrm>
          <a:prstGeom prst="rect">
            <a:avLst/>
          </a:prstGeom>
        </p:spPr>
      </p:pic>
      <p:sp>
        <p:nvSpPr>
          <p:cNvPr id="7" name="Arrow: Left 6"/>
          <p:cNvSpPr/>
          <p:nvPr/>
        </p:nvSpPr>
        <p:spPr>
          <a:xfrm>
            <a:off x="4502181" y="3453148"/>
            <a:ext cx="1835558" cy="5083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9412014" y="5692700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room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3922" y="1860356"/>
            <a:ext cx="2943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type of access device?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7970928" y="2288628"/>
            <a:ext cx="783090" cy="125066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cxnSpLocks/>
            <a:stCxn id="9" idx="0"/>
          </p:cNvCxnSpPr>
          <p:nvPr/>
        </p:nvCxnSpPr>
        <p:spPr>
          <a:xfrm flipH="1" flipV="1">
            <a:off x="9637173" y="4682359"/>
            <a:ext cx="846896" cy="101034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303133" y="5108254"/>
            <a:ext cx="2144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re is the data?</a:t>
            </a:r>
          </a:p>
        </p:txBody>
      </p:sp>
      <p:cxnSp>
        <p:nvCxnSpPr>
          <p:cNvPr id="16" name="Straight Arrow Connector 15"/>
          <p:cNvCxnSpPr>
            <a:cxnSpLocks/>
          </p:cNvCxnSpPr>
          <p:nvPr/>
        </p:nvCxnSpPr>
        <p:spPr>
          <a:xfrm flipV="1">
            <a:off x="6765706" y="4118146"/>
            <a:ext cx="1988312" cy="99010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</p:cNvCxnSpPr>
          <p:nvPr/>
        </p:nvCxnSpPr>
        <p:spPr>
          <a:xfrm flipH="1" flipV="1">
            <a:off x="4003829" y="3961518"/>
            <a:ext cx="2077375" cy="1078001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578353" y="874985"/>
            <a:ext cx="4916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“Virtual Data Enclave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229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732"/>
    </mc:Choice>
    <mc:Fallback xmlns="">
      <p:transition spd="slow" advTm="287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/>
      <p:bldP spid="10" grpId="0"/>
      <p:bldP spid="1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5|5.8|6.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2|7.3|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|8.7|2|3.4|10.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9|4.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9|12.5|25.3|11.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1|27.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2|13.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323F4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719</TotalTime>
  <Words>4443</Words>
  <Application>Microsoft Office PowerPoint</Application>
  <PresentationFormat>Widescreen</PresentationFormat>
  <Paragraphs>968</Paragraphs>
  <Slides>85</Slides>
  <Notes>22</Notes>
  <HiddenSlides>2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5</vt:i4>
      </vt:variant>
    </vt:vector>
  </HeadingPairs>
  <TitlesOfParts>
    <vt:vector size="92" baseType="lpstr">
      <vt:lpstr>Arial</vt:lpstr>
      <vt:lpstr>Calibri</vt:lpstr>
      <vt:lpstr>Calibri Light</vt:lpstr>
      <vt:lpstr>Comic Sans MS</vt:lpstr>
      <vt:lpstr>Courier New</vt:lpstr>
      <vt:lpstr>Lucida Handwriting</vt:lpstr>
      <vt:lpstr>Office Theme</vt:lpstr>
      <vt:lpstr>Confidentiality protection and physical safeguards</vt:lpstr>
      <vt:lpstr>context of my talk today</vt:lpstr>
      <vt:lpstr>publication trade-offs</vt:lpstr>
      <vt:lpstr>The goal of data access</vt:lpstr>
      <vt:lpstr>public use data</vt:lpstr>
      <vt:lpstr>confidential data</vt:lpstr>
      <vt:lpstr>basic paradigm</vt:lpstr>
      <vt:lpstr>the ideal</vt:lpstr>
      <vt:lpstr>making things virtual</vt:lpstr>
      <vt:lpstr>virtual data enclaves</vt:lpstr>
      <vt:lpstr>Examples in 1990s</vt:lpstr>
      <vt:lpstr>Examples in 2017</vt:lpstr>
      <vt:lpstr>basic levers</vt:lpstr>
      <vt:lpstr>basic levers</vt:lpstr>
      <vt:lpstr>access methods: enclaves</vt:lpstr>
      <vt:lpstr>access methods: enclaves</vt:lpstr>
      <vt:lpstr>What type of room?</vt:lpstr>
      <vt:lpstr>Access matrix for confidential data</vt:lpstr>
      <vt:lpstr>How do results leave the room?</vt:lpstr>
      <vt:lpstr>How do results leave the room?</vt:lpstr>
      <vt:lpstr>PowerPoint Presentation</vt:lpstr>
      <vt:lpstr>self-controlled release of results</vt:lpstr>
      <vt:lpstr>access methods: enclaves  with researcher-controlled release</vt:lpstr>
      <vt:lpstr>access methods: enclaves with researcher-controlled release</vt:lpstr>
      <vt:lpstr>Access matrix for confidential data</vt:lpstr>
      <vt:lpstr>penalties</vt:lpstr>
      <vt:lpstr>penalties</vt:lpstr>
      <vt:lpstr>penalties</vt:lpstr>
      <vt:lpstr>penalties</vt:lpstr>
      <vt:lpstr>trust and access</vt:lpstr>
      <vt:lpstr>trust and access</vt:lpstr>
      <vt:lpstr>hypothesis: culture matters</vt:lpstr>
      <vt:lpstr>training content, method, and frequency</vt:lpstr>
      <vt:lpstr>virtual enclave = centralization</vt:lpstr>
      <vt:lpstr>Concerns about centralized compute infrastructure</vt:lpstr>
      <vt:lpstr>Concerns about centralized compute infrastructure</vt:lpstr>
      <vt:lpstr>summary</vt:lpstr>
      <vt:lpstr>summary</vt:lpstr>
      <vt:lpstr>some concluding thoughts</vt:lpstr>
      <vt:lpstr>PowerPoint Presentation</vt:lpstr>
      <vt:lpstr>Supplementary slides</vt:lpstr>
      <vt:lpstr>my geographic bias</vt:lpstr>
      <vt:lpstr>3rd party data custodian</vt:lpstr>
      <vt:lpstr>historical background</vt:lpstr>
      <vt:lpstr>access to Census Bureau data</vt:lpstr>
      <vt:lpstr>some other FedStats</vt:lpstr>
      <vt:lpstr>other countries: Germany</vt:lpstr>
      <vt:lpstr>other countries: France</vt:lpstr>
      <vt:lpstr>mechanisms</vt:lpstr>
      <vt:lpstr>that spaceship thing…</vt:lpstr>
      <vt:lpstr>thin clients</vt:lpstr>
      <vt:lpstr>that box thing</vt:lpstr>
      <vt:lpstr>scalability (CASD)</vt:lpstr>
      <vt:lpstr>full matrix of access controls</vt:lpstr>
      <vt:lpstr>Access matrix for confidential data</vt:lpstr>
      <vt:lpstr>Access matrix for confidential data</vt:lpstr>
      <vt:lpstr>remote tabulation</vt:lpstr>
      <vt:lpstr>access methods: remote tabulation</vt:lpstr>
      <vt:lpstr>remote processing paradigm</vt:lpstr>
      <vt:lpstr>remote processing paradigm</vt:lpstr>
      <vt:lpstr>Access matrix for remote submission</vt:lpstr>
      <vt:lpstr>The ultimate remote submission</vt:lpstr>
      <vt:lpstr>remote access setup</vt:lpstr>
      <vt:lpstr>training</vt:lpstr>
      <vt:lpstr>hidden element: how is Disclosure Avoidance done?</vt:lpstr>
      <vt:lpstr>hidden cost: how to train the users?</vt:lpstr>
      <vt:lpstr>results from a survey of FSRDC users</vt:lpstr>
      <vt:lpstr>FSRDC user experience: DA protocols</vt:lpstr>
      <vt:lpstr>FSRDC user experience training</vt:lpstr>
      <vt:lpstr>results from a survey of FSRDC users</vt:lpstr>
      <vt:lpstr>training content, method, and frequency</vt:lpstr>
      <vt:lpstr>Responsible Conduct of Research (RCR)</vt:lpstr>
      <vt:lpstr>French training</vt:lpstr>
      <vt:lpstr>CASD setup</vt:lpstr>
      <vt:lpstr>CASD setup</vt:lpstr>
      <vt:lpstr>CASD security</vt:lpstr>
      <vt:lpstr>conferences</vt:lpstr>
      <vt:lpstr>community</vt:lpstr>
      <vt:lpstr>community (cont.)</vt:lpstr>
      <vt:lpstr>training content, method, and frequency</vt:lpstr>
      <vt:lpstr>access and trust</vt:lpstr>
      <vt:lpstr>the ultimate achievement</vt:lpstr>
      <vt:lpstr>PowerPoint Presentation</vt:lpstr>
      <vt:lpstr>Thanks</vt:lpstr>
      <vt:lpstr>Some 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fidentiality protection and physical safeguards</dc:title>
  <dc:creator>Lars Vilhuber</dc:creator>
  <cp:lastModifiedBy>Lars Vilhuber</cp:lastModifiedBy>
  <cp:revision>181</cp:revision>
  <dcterms:created xsi:type="dcterms:W3CDTF">2016-11-26T21:09:30Z</dcterms:created>
  <dcterms:modified xsi:type="dcterms:W3CDTF">2017-02-21T05:52:14Z</dcterms:modified>
</cp:coreProperties>
</file>